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s/slide2.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1.xml" ContentType="application/vnd.openxmlformats-officedocument.presentationml.slide+xml"/>
  <Override PartName="/ppt/slides/slide1.xml" ContentType="application/vnd.openxmlformats-officedocument.presentationml.slide+xml"/>
  <Override PartName="/ppt/slides/slide10.xml" ContentType="application/vnd.openxmlformats-officedocument.presentationml.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1.xml" ContentType="application/vnd.openxmlformats-officedocument.presentationml.notesSlide+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7.xml" ContentType="application/vnd.openxmlformats-officedocument.presentationml.slideLayout+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88.xml" ContentType="application/vnd.openxmlformats-officedocument.presentationml.slideLayout+xml"/>
  <Override PartName="/ppt/slideLayouts/slideLayout86.xml" ContentType="application/vnd.openxmlformats-officedocument.presentationml.slideLayout+xml"/>
  <Override PartName="/ppt/slideLayouts/slideLayout90.xml" ContentType="application/vnd.openxmlformats-officedocument.presentationml.slideLayout+xml"/>
  <Override PartName="/ppt/slideLayouts/slideLayout152.xml" ContentType="application/vnd.openxmlformats-officedocument.presentationml.slideLayout+xml"/>
  <Override PartName="/ppt/slideLayouts/slideLayout151.xml" ContentType="application/vnd.openxmlformats-officedocument.presentationml.slideLayout+xml"/>
  <Override PartName="/ppt/slideLayouts/slideLayout150.xml" ContentType="application/vnd.openxmlformats-officedocument.presentationml.slideLayout+xml"/>
  <Override PartName="/ppt/slideLayouts/slideLayout149.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48.xml" ContentType="application/vnd.openxmlformats-officedocument.presentationml.slideLayout+xml"/>
  <Override PartName="/ppt/slideLayouts/slideLayout147.xml" ContentType="application/vnd.openxmlformats-officedocument.presentationml.slideLayout+xml"/>
  <Override PartName="/ppt/slideLayouts/slideLayout14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77.xml" ContentType="application/vnd.openxmlformats-officedocument.presentationml.slideLayout+xml"/>
  <Override PartName="/ppt/slideLayouts/slideLayout176.xml" ContentType="application/vnd.openxmlformats-officedocument.presentationml.slideLayout+xml"/>
  <Override PartName="/ppt/slideLayouts/slideLayout175.xml" ContentType="application/vnd.openxmlformats-officedocument.presentationml.slideLayout+xml"/>
  <Override PartName="/ppt/slideLayouts/slideLayout174.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73.xml" ContentType="application/vnd.openxmlformats-officedocument.presentationml.slideLayout+xml"/>
  <Override PartName="/ppt/slideLayouts/slideLayout172.xml" ContentType="application/vnd.openxmlformats-officedocument.presentationml.slideLayout+xml"/>
  <Override PartName="/ppt/slideLayouts/slideLayout17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89.xml" ContentType="application/vnd.openxmlformats-officedocument.presentationml.slideLayout+xml"/>
  <Override PartName="/ppt/slideLayouts/slideLayout136.xml" ContentType="application/vnd.openxmlformats-officedocument.presentationml.slideLayout+xml"/>
  <Override PartName="/ppt/slideLayouts/slideLayout134.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02.xml" ContentType="application/vnd.openxmlformats-officedocument.presentationml.slideLayout+xml"/>
  <Override PartName="/ppt/slideLayouts/slideLayout101.xml" ContentType="application/vnd.openxmlformats-officedocument.presentationml.slideLayout+xml"/>
  <Override PartName="/ppt/slideLayouts/slideLayout10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35.xml" ContentType="application/vnd.openxmlformats-officedocument.presentationml.slideLayout+xml"/>
  <Override PartName="/ppt/slideLayouts/slideLayout113.xml" ContentType="application/vnd.openxmlformats-officedocument.presentationml.slideLayout+xml"/>
  <Override PartName="/ppt/slideLayouts/slideLayout115.xml" ContentType="application/vnd.openxmlformats-officedocument.presentationml.slideLayout+xml"/>
  <Override PartName="/ppt/slideLayouts/slideLayout127.xml" ContentType="application/vnd.openxmlformats-officedocument.presentationml.slideLayout+xml"/>
  <Override PartName="/ppt/slideLayouts/slideLayout126.xml" ContentType="application/vnd.openxmlformats-officedocument.presentationml.slideLayout+xml"/>
  <Override PartName="/ppt/slideLayouts/slideLayout125.xml" ContentType="application/vnd.openxmlformats-officedocument.presentationml.slideLayout+xml"/>
  <Override PartName="/ppt/slideLayouts/slideLayout124.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23.xml" ContentType="application/vnd.openxmlformats-officedocument.presentationml.slideLayout+xml"/>
  <Override PartName="/ppt/slideLayouts/slideLayout122.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4.xml" ContentType="application/vnd.openxmlformats-officedocument.presentationml.slideLayout+xml"/>
  <Override PartName="/ppt/slideLayouts/slideLayout121.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chart3.xml" ContentType="application/vnd.openxmlformats-officedocument.drawingml.chart+xml"/>
  <Override PartName="/ppt/charts/chart2.xml" ContentType="application/vnd.openxmlformats-officedocument.drawingml.chart+xml"/>
  <Override PartName="/ppt/theme/theme1.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94.xml" ContentType="application/vnd.openxmlformats-officedocument.presentationml.tags+xml"/>
  <Override PartName="/ppt/tags/tag122.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3.xml" ContentType="application/vnd.openxmlformats-officedocument.presentationml.tags+xml"/>
  <Override PartName="/ppt/tags/tag126.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21.xml" ContentType="application/vnd.openxmlformats-officedocument.presentationml.tags+xml"/>
  <Override PartName="/ppt/tags/tag116.xml" ContentType="application/vnd.openxmlformats-officedocument.presentationml.tags+xml"/>
  <Override PartName="/ppt/tags/tag128.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129.xml" ContentType="application/vnd.openxmlformats-officedocument.presentationml.tags+xml"/>
  <Override PartName="/ppt/tags/tag127.xml" ContentType="application/vnd.openxmlformats-officedocument.presentationml.tags+xml"/>
  <Override PartName="/ppt/tags/tag105.xml" ContentType="application/vnd.openxmlformats-officedocument.presentationml.tags+xml"/>
  <Override PartName="/ppt/tags/tag114.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37.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15.xml" ContentType="application/vnd.openxmlformats-officedocument.presentationml.tags+xml"/>
  <Override PartName="/ppt/tags/tag148.xml" ContentType="application/vnd.openxmlformats-officedocument.presentationml.tags+xml"/>
  <Override PartName="/ppt/tags/tag139.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81.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60.xml" ContentType="application/vnd.openxmlformats-officedocument.presentationml.tags+xml"/>
  <Override PartName="/ppt/tags/tag93.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38.xml" ContentType="application/vnd.openxmlformats-officedocument.presentationml.tags+xml"/>
  <Override PartName="/ppt/tags/tag82.xml" ContentType="application/vnd.openxmlformats-officedocument.presentationml.tags+xml"/>
  <Override PartName="/ppt/tags/tag91.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92.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262.xml" ContentType="application/vnd.openxmlformats-officedocument.presentationml.tags+xml"/>
  <Override PartName="/ppt/tags/tag261.xml" ContentType="application/vnd.openxmlformats-officedocument.presentationml.tags+xml"/>
  <Override PartName="/ppt/tags/tag260.xml" ContentType="application/vnd.openxmlformats-officedocument.presentationml.tags+xml"/>
  <Override PartName="/ppt/tags/tag259.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58.xml" ContentType="application/vnd.openxmlformats-officedocument.presentationml.tags+xml"/>
  <Override PartName="/ppt/tags/tag257.xml" ContentType="application/vnd.openxmlformats-officedocument.presentationml.tags+xml"/>
  <Override PartName="/ppt/tags/tag256.xml" ContentType="application/vnd.openxmlformats-officedocument.presentationml.tags+xml"/>
  <Override PartName="/ppt/tags/tag249.xml" ContentType="application/vnd.openxmlformats-officedocument.presentationml.tags+xml"/>
  <Override PartName="/ppt/tags/tag248.xml" ContentType="application/vnd.openxmlformats-officedocument.presentationml.tags+xml"/>
  <Override PartName="/ppt/tags/tag247.xml" ContentType="application/vnd.openxmlformats-officedocument.presentationml.tags+xml"/>
  <Override PartName="/ppt/tags/tag246.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87.xml" ContentType="application/vnd.openxmlformats-officedocument.presentationml.tags+xml"/>
  <Override PartName="/ppt/tags/tag286.xml" ContentType="application/vnd.openxmlformats-officedocument.presentationml.tags+xml"/>
  <Override PartName="/ppt/tags/tag285.xml" ContentType="application/vnd.openxmlformats-officedocument.presentationml.tags+xml"/>
  <Override PartName="/ppt/tags/tag284.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83.xml" ContentType="application/vnd.openxmlformats-officedocument.presentationml.tags+xml"/>
  <Override PartName="/ppt/tags/tag282.xml" ContentType="application/vnd.openxmlformats-officedocument.presentationml.tags+xml"/>
  <Override PartName="/ppt/tags/tag28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45.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11.xml" ContentType="application/vnd.openxmlformats-officedocument.presentationml.tags+xml"/>
  <Override PartName="/ppt/tags/tag210.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198.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95.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36.xml" ContentType="application/vnd.openxmlformats-officedocument.presentationml.tags+xml"/>
  <Override PartName="/ppt/tags/tag235.xml" ContentType="application/vnd.openxmlformats-officedocument.presentationml.tags+xml"/>
  <Override PartName="/ppt/tags/tag234.xml" ContentType="application/vnd.openxmlformats-officedocument.presentationml.tags+xml"/>
  <Override PartName="/ppt/tags/tag233.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364.xml" ContentType="application/vnd.openxmlformats-officedocument.presentationml.tags+xml"/>
  <Override PartName="/ppt/tags/tag363.xml" ContentType="application/vnd.openxmlformats-officedocument.presentationml.tags+xml"/>
  <Override PartName="/ppt/tags/tag362.xml" ContentType="application/vnd.openxmlformats-officedocument.presentationml.tags+xml"/>
  <Override PartName="/ppt/tags/tag361.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60.xml" ContentType="application/vnd.openxmlformats-officedocument.presentationml.tags+xml"/>
  <Override PartName="/ppt/tags/tag359.xml" ContentType="application/vnd.openxmlformats-officedocument.presentationml.tags+xml"/>
  <Override PartName="/ppt/tags/tag358.xml" ContentType="application/vnd.openxmlformats-officedocument.presentationml.tags+xml"/>
  <Override PartName="/ppt/tags/tag351.xml" ContentType="application/vnd.openxmlformats-officedocument.presentationml.tags+xml"/>
  <Override PartName="/ppt/tags/tag350.xml" ContentType="application/vnd.openxmlformats-officedocument.presentationml.tags+xml"/>
  <Override PartName="/ppt/tags/tag349.xml" ContentType="application/vnd.openxmlformats-officedocument.presentationml.tags+xml"/>
  <Override PartName="/ppt/tags/tag348.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386.xml" ContentType="application/vnd.openxmlformats-officedocument.presentationml.tags+xml"/>
  <Override PartName="/ppt/tags/tag19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89.xml" ContentType="application/vnd.openxmlformats-officedocument.presentationml.tags+xml"/>
  <Override PartName="/ppt/tags/tag188.xml" ContentType="application/vnd.openxmlformats-officedocument.presentationml.tags+xml"/>
  <Override PartName="/ppt/tags/tag187.xml" ContentType="application/vnd.openxmlformats-officedocument.presentationml.tags+xml"/>
  <Override PartName="/ppt/tags/tag385.xml" ContentType="application/vnd.openxmlformats-officedocument.presentationml.tags+xml"/>
  <Override PartName="/ppt/tags/tag384.xml" ContentType="application/vnd.openxmlformats-officedocument.presentationml.tags+xml"/>
  <Override PartName="/ppt/tags/tag38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47.xml" ContentType="application/vnd.openxmlformats-officedocument.presentationml.tags+xml"/>
  <Override PartName="/ppt/tags/tag346.xml" ContentType="application/vnd.openxmlformats-officedocument.presentationml.tags+xml"/>
  <Override PartName="/ppt/tags/tag345.xml" ContentType="application/vnd.openxmlformats-officedocument.presentationml.tags+xml"/>
  <Override PartName="/ppt/tags/tag313.xml" ContentType="application/vnd.openxmlformats-officedocument.presentationml.tags+xml"/>
  <Override PartName="/ppt/tags/tag312.xml" ContentType="application/vnd.openxmlformats-officedocument.presentationml.tags+xml"/>
  <Override PartName="/ppt/tags/tag311.xml" ContentType="application/vnd.openxmlformats-officedocument.presentationml.tags+xml"/>
  <Override PartName="/ppt/tags/tag310.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09.xml" ContentType="application/vnd.openxmlformats-officedocument.presentationml.tags+xml"/>
  <Override PartName="/ppt/tags/tag308.xml" ContentType="application/vnd.openxmlformats-officedocument.presentationml.tags+xml"/>
  <Override PartName="/ppt/tags/tag307.xml" ContentType="application/vnd.openxmlformats-officedocument.presentationml.tags+xml"/>
  <Override PartName="/ppt/tags/tag300.xml" ContentType="application/vnd.openxmlformats-officedocument.presentationml.tags+xml"/>
  <Override PartName="/ppt/tags/tag299.xml" ContentType="application/vnd.openxmlformats-officedocument.presentationml.tags+xml"/>
  <Override PartName="/ppt/tags/tag298.xml" ContentType="application/vnd.openxmlformats-officedocument.presentationml.tags+xml"/>
  <Override PartName="/ppt/tags/tag297.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38.xml" ContentType="application/vnd.openxmlformats-officedocument.presentationml.tags+xml"/>
  <Override PartName="/ppt/tags/tag337.xml" ContentType="application/vnd.openxmlformats-officedocument.presentationml.tags+xml"/>
  <Override PartName="/ppt/tags/tag336.xml" ContentType="application/vnd.openxmlformats-officedocument.presentationml.tags+xml"/>
  <Override PartName="/ppt/tags/tag335.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34.xml" ContentType="application/vnd.openxmlformats-officedocument.presentationml.tags+xml"/>
  <Override PartName="/ppt/tags/tag333.xml" ContentType="application/vnd.openxmlformats-officedocument.presentationml.tags+xml"/>
  <Override PartName="/ppt/tags/tag33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18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10" r:id="rId1"/>
    <p:sldMasterId id="2147484137" r:id="rId2"/>
    <p:sldMasterId id="2147484163" r:id="rId3"/>
  </p:sldMasterIdLst>
  <p:notesMasterIdLst>
    <p:notesMasterId r:id="rId15"/>
  </p:notesMasterIdLst>
  <p:sldIdLst>
    <p:sldId id="413" r:id="rId4"/>
    <p:sldId id="414" r:id="rId5"/>
    <p:sldId id="422" r:id="rId6"/>
    <p:sldId id="416" r:id="rId7"/>
    <p:sldId id="423" r:id="rId8"/>
    <p:sldId id="424" r:id="rId9"/>
    <p:sldId id="412" r:id="rId10"/>
    <p:sldId id="302" r:id="rId11"/>
    <p:sldId id="419" r:id="rId12"/>
    <p:sldId id="425" r:id="rId13"/>
    <p:sldId id="418" r:id="rId14"/>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5C8C"/>
    <a:srgbClr val="FBBB4C"/>
    <a:srgbClr val="99D8F3"/>
    <a:srgbClr val="D80F5F"/>
    <a:srgbClr val="92B602"/>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65" autoAdjust="0"/>
    <p:restoredTop sz="94632" autoAdjust="0"/>
  </p:normalViewPr>
  <p:slideViewPr>
    <p:cSldViewPr snapToGrid="0" snapToObjects="1">
      <p:cViewPr varScale="1">
        <p:scale>
          <a:sx n="102" d="100"/>
          <a:sy n="102" d="100"/>
        </p:scale>
        <p:origin x="-132" y="-96"/>
      </p:cViewPr>
      <p:guideLst>
        <p:guide orient="horz" pos="4256"/>
        <p:guide orient="horz" pos="251"/>
        <p:guide orient="horz" pos="1157"/>
        <p:guide orient="horz" pos="4057"/>
        <p:guide orient="horz" pos="3514"/>
        <p:guide orient="horz" pos="445"/>
        <p:guide orient="horz" pos="4142"/>
        <p:guide orient="horz" pos="3412"/>
        <p:guide orient="horz" pos="1699"/>
        <p:guide pos="232"/>
        <p:guide pos="2985"/>
        <p:guide pos="1622"/>
        <p:guide pos="1292"/>
        <p:guide pos="439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customXml" Target="../customXml/item2.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0359530530382E-2"/>
          <c:y val="5.8188038995125611E-2"/>
          <c:w val="0.93086392240802185"/>
          <c:h val="0.85010748656417945"/>
        </c:manualLayout>
      </c:layout>
      <c:lineChart>
        <c:grouping val="standard"/>
        <c:varyColors val="0"/>
        <c:ser>
          <c:idx val="0"/>
          <c:order val="0"/>
          <c:tx>
            <c:strRef>
              <c:f>Sheet1!$B$1</c:f>
              <c:strCache>
                <c:ptCount val="1"/>
                <c:pt idx="0">
                  <c:v>Reference</c:v>
                </c:pt>
              </c:strCache>
            </c:strRef>
          </c:tx>
          <c:spPr>
            <a:ln w="12700">
              <a:solidFill>
                <a:schemeClr val="accent1"/>
              </a:solidFill>
              <a:prstDash val="solid"/>
            </a:ln>
          </c:spPr>
          <c:marker>
            <c:symbol val="none"/>
          </c:marker>
          <c:cat>
            <c:numRef>
              <c:f>Sheet1!$A$2:$A$1247</c:f>
              <c:numCache>
                <c:formatCode>m/d/yyyy\ h:mm</c:formatCode>
                <c:ptCount val="1246"/>
                <c:pt idx="0">
                  <c:v>40480</c:v>
                </c:pt>
                <c:pt idx="1">
                  <c:v>40483</c:v>
                </c:pt>
                <c:pt idx="2">
                  <c:v>40484</c:v>
                </c:pt>
                <c:pt idx="3">
                  <c:v>40485</c:v>
                </c:pt>
                <c:pt idx="4">
                  <c:v>40486</c:v>
                </c:pt>
                <c:pt idx="5">
                  <c:v>40487</c:v>
                </c:pt>
                <c:pt idx="6">
                  <c:v>40490</c:v>
                </c:pt>
                <c:pt idx="7">
                  <c:v>40491</c:v>
                </c:pt>
                <c:pt idx="8">
                  <c:v>40492</c:v>
                </c:pt>
                <c:pt idx="9">
                  <c:v>40493</c:v>
                </c:pt>
                <c:pt idx="10">
                  <c:v>40494</c:v>
                </c:pt>
                <c:pt idx="11">
                  <c:v>40497</c:v>
                </c:pt>
                <c:pt idx="12">
                  <c:v>40498</c:v>
                </c:pt>
                <c:pt idx="13">
                  <c:v>40499</c:v>
                </c:pt>
                <c:pt idx="14">
                  <c:v>40500</c:v>
                </c:pt>
                <c:pt idx="15">
                  <c:v>40501</c:v>
                </c:pt>
                <c:pt idx="16">
                  <c:v>40504</c:v>
                </c:pt>
                <c:pt idx="17">
                  <c:v>40505</c:v>
                </c:pt>
                <c:pt idx="18">
                  <c:v>40506</c:v>
                </c:pt>
                <c:pt idx="19">
                  <c:v>40507</c:v>
                </c:pt>
                <c:pt idx="20">
                  <c:v>40508</c:v>
                </c:pt>
                <c:pt idx="21">
                  <c:v>40511</c:v>
                </c:pt>
                <c:pt idx="22">
                  <c:v>40512</c:v>
                </c:pt>
                <c:pt idx="23">
                  <c:v>40513</c:v>
                </c:pt>
                <c:pt idx="24">
                  <c:v>40514</c:v>
                </c:pt>
                <c:pt idx="25">
                  <c:v>40515</c:v>
                </c:pt>
                <c:pt idx="26">
                  <c:v>40518</c:v>
                </c:pt>
                <c:pt idx="27">
                  <c:v>40519</c:v>
                </c:pt>
                <c:pt idx="28">
                  <c:v>40520</c:v>
                </c:pt>
                <c:pt idx="29">
                  <c:v>40521</c:v>
                </c:pt>
                <c:pt idx="30">
                  <c:v>40522</c:v>
                </c:pt>
                <c:pt idx="31">
                  <c:v>40525</c:v>
                </c:pt>
                <c:pt idx="32">
                  <c:v>40526</c:v>
                </c:pt>
                <c:pt idx="33">
                  <c:v>40527</c:v>
                </c:pt>
                <c:pt idx="34">
                  <c:v>40528</c:v>
                </c:pt>
                <c:pt idx="35">
                  <c:v>40529</c:v>
                </c:pt>
                <c:pt idx="36">
                  <c:v>40532</c:v>
                </c:pt>
                <c:pt idx="37">
                  <c:v>40533</c:v>
                </c:pt>
                <c:pt idx="38">
                  <c:v>40534</c:v>
                </c:pt>
                <c:pt idx="39">
                  <c:v>40535</c:v>
                </c:pt>
                <c:pt idx="40">
                  <c:v>40536</c:v>
                </c:pt>
                <c:pt idx="41">
                  <c:v>40539</c:v>
                </c:pt>
                <c:pt idx="42">
                  <c:v>40540</c:v>
                </c:pt>
                <c:pt idx="43">
                  <c:v>40541</c:v>
                </c:pt>
                <c:pt idx="44">
                  <c:v>40542</c:v>
                </c:pt>
                <c:pt idx="45">
                  <c:v>40543</c:v>
                </c:pt>
                <c:pt idx="46">
                  <c:v>40546</c:v>
                </c:pt>
                <c:pt idx="47">
                  <c:v>40547</c:v>
                </c:pt>
                <c:pt idx="48">
                  <c:v>40548</c:v>
                </c:pt>
                <c:pt idx="49">
                  <c:v>40549</c:v>
                </c:pt>
                <c:pt idx="50">
                  <c:v>40550</c:v>
                </c:pt>
                <c:pt idx="51">
                  <c:v>40553</c:v>
                </c:pt>
                <c:pt idx="52">
                  <c:v>40554</c:v>
                </c:pt>
                <c:pt idx="53">
                  <c:v>40555</c:v>
                </c:pt>
                <c:pt idx="54">
                  <c:v>40556</c:v>
                </c:pt>
                <c:pt idx="55">
                  <c:v>40557</c:v>
                </c:pt>
                <c:pt idx="56">
                  <c:v>40560</c:v>
                </c:pt>
                <c:pt idx="57">
                  <c:v>40561</c:v>
                </c:pt>
                <c:pt idx="58">
                  <c:v>40562</c:v>
                </c:pt>
                <c:pt idx="59">
                  <c:v>40563</c:v>
                </c:pt>
                <c:pt idx="60">
                  <c:v>40564</c:v>
                </c:pt>
                <c:pt idx="61">
                  <c:v>40567</c:v>
                </c:pt>
                <c:pt idx="62">
                  <c:v>40568</c:v>
                </c:pt>
                <c:pt idx="63">
                  <c:v>40569</c:v>
                </c:pt>
                <c:pt idx="64">
                  <c:v>40570</c:v>
                </c:pt>
                <c:pt idx="65">
                  <c:v>40571</c:v>
                </c:pt>
                <c:pt idx="66">
                  <c:v>40574</c:v>
                </c:pt>
                <c:pt idx="67">
                  <c:v>40575</c:v>
                </c:pt>
                <c:pt idx="68">
                  <c:v>40576</c:v>
                </c:pt>
                <c:pt idx="69">
                  <c:v>40577</c:v>
                </c:pt>
                <c:pt idx="70">
                  <c:v>40578</c:v>
                </c:pt>
                <c:pt idx="71">
                  <c:v>40581</c:v>
                </c:pt>
                <c:pt idx="72">
                  <c:v>40582</c:v>
                </c:pt>
                <c:pt idx="73">
                  <c:v>40583</c:v>
                </c:pt>
                <c:pt idx="74">
                  <c:v>40584</c:v>
                </c:pt>
                <c:pt idx="75">
                  <c:v>40585</c:v>
                </c:pt>
                <c:pt idx="76">
                  <c:v>40588</c:v>
                </c:pt>
                <c:pt idx="77">
                  <c:v>40589</c:v>
                </c:pt>
                <c:pt idx="78">
                  <c:v>40590</c:v>
                </c:pt>
                <c:pt idx="79">
                  <c:v>40591</c:v>
                </c:pt>
                <c:pt idx="80">
                  <c:v>40592</c:v>
                </c:pt>
                <c:pt idx="81">
                  <c:v>40595</c:v>
                </c:pt>
                <c:pt idx="82">
                  <c:v>40596</c:v>
                </c:pt>
                <c:pt idx="83">
                  <c:v>40597</c:v>
                </c:pt>
                <c:pt idx="84">
                  <c:v>40598</c:v>
                </c:pt>
                <c:pt idx="85">
                  <c:v>40599</c:v>
                </c:pt>
                <c:pt idx="86">
                  <c:v>40602</c:v>
                </c:pt>
                <c:pt idx="87">
                  <c:v>40603</c:v>
                </c:pt>
                <c:pt idx="88">
                  <c:v>40604</c:v>
                </c:pt>
                <c:pt idx="89">
                  <c:v>40605</c:v>
                </c:pt>
                <c:pt idx="90">
                  <c:v>40606</c:v>
                </c:pt>
                <c:pt idx="91">
                  <c:v>40609</c:v>
                </c:pt>
                <c:pt idx="92">
                  <c:v>40610</c:v>
                </c:pt>
                <c:pt idx="93">
                  <c:v>40611</c:v>
                </c:pt>
                <c:pt idx="94">
                  <c:v>40612</c:v>
                </c:pt>
                <c:pt idx="95">
                  <c:v>40613</c:v>
                </c:pt>
                <c:pt idx="96">
                  <c:v>40616</c:v>
                </c:pt>
                <c:pt idx="97">
                  <c:v>40617</c:v>
                </c:pt>
                <c:pt idx="98">
                  <c:v>40618</c:v>
                </c:pt>
                <c:pt idx="99">
                  <c:v>40619</c:v>
                </c:pt>
                <c:pt idx="100">
                  <c:v>40620</c:v>
                </c:pt>
                <c:pt idx="101">
                  <c:v>40623</c:v>
                </c:pt>
                <c:pt idx="102">
                  <c:v>40624</c:v>
                </c:pt>
                <c:pt idx="103">
                  <c:v>40625</c:v>
                </c:pt>
                <c:pt idx="104">
                  <c:v>40626</c:v>
                </c:pt>
                <c:pt idx="105">
                  <c:v>40627</c:v>
                </c:pt>
                <c:pt idx="106">
                  <c:v>40630</c:v>
                </c:pt>
                <c:pt idx="107">
                  <c:v>40631</c:v>
                </c:pt>
                <c:pt idx="108">
                  <c:v>40632</c:v>
                </c:pt>
                <c:pt idx="109">
                  <c:v>40633</c:v>
                </c:pt>
                <c:pt idx="110">
                  <c:v>40634</c:v>
                </c:pt>
                <c:pt idx="111">
                  <c:v>40637</c:v>
                </c:pt>
                <c:pt idx="112">
                  <c:v>40638</c:v>
                </c:pt>
                <c:pt idx="113">
                  <c:v>40639</c:v>
                </c:pt>
                <c:pt idx="114">
                  <c:v>40640</c:v>
                </c:pt>
                <c:pt idx="115">
                  <c:v>40641</c:v>
                </c:pt>
                <c:pt idx="116">
                  <c:v>40644</c:v>
                </c:pt>
                <c:pt idx="117">
                  <c:v>40645</c:v>
                </c:pt>
                <c:pt idx="118">
                  <c:v>40646</c:v>
                </c:pt>
                <c:pt idx="119">
                  <c:v>40647</c:v>
                </c:pt>
                <c:pt idx="120">
                  <c:v>40648</c:v>
                </c:pt>
                <c:pt idx="121">
                  <c:v>40651</c:v>
                </c:pt>
                <c:pt idx="122">
                  <c:v>40652</c:v>
                </c:pt>
                <c:pt idx="123">
                  <c:v>40653</c:v>
                </c:pt>
                <c:pt idx="124">
                  <c:v>40654</c:v>
                </c:pt>
                <c:pt idx="125">
                  <c:v>40659</c:v>
                </c:pt>
                <c:pt idx="126">
                  <c:v>40660</c:v>
                </c:pt>
                <c:pt idx="127">
                  <c:v>40661</c:v>
                </c:pt>
                <c:pt idx="128">
                  <c:v>40662</c:v>
                </c:pt>
                <c:pt idx="129">
                  <c:v>40665</c:v>
                </c:pt>
                <c:pt idx="130">
                  <c:v>40666</c:v>
                </c:pt>
                <c:pt idx="131">
                  <c:v>40667</c:v>
                </c:pt>
                <c:pt idx="132">
                  <c:v>40668</c:v>
                </c:pt>
                <c:pt idx="133">
                  <c:v>40669</c:v>
                </c:pt>
                <c:pt idx="134">
                  <c:v>40672</c:v>
                </c:pt>
                <c:pt idx="135">
                  <c:v>40673</c:v>
                </c:pt>
                <c:pt idx="136">
                  <c:v>40674</c:v>
                </c:pt>
                <c:pt idx="137">
                  <c:v>40675</c:v>
                </c:pt>
                <c:pt idx="138">
                  <c:v>40676</c:v>
                </c:pt>
                <c:pt idx="139">
                  <c:v>40679</c:v>
                </c:pt>
                <c:pt idx="140">
                  <c:v>40680</c:v>
                </c:pt>
                <c:pt idx="141">
                  <c:v>40681</c:v>
                </c:pt>
                <c:pt idx="142">
                  <c:v>40682</c:v>
                </c:pt>
                <c:pt idx="143">
                  <c:v>40683</c:v>
                </c:pt>
                <c:pt idx="144">
                  <c:v>40686</c:v>
                </c:pt>
                <c:pt idx="145">
                  <c:v>40687</c:v>
                </c:pt>
                <c:pt idx="146">
                  <c:v>40688</c:v>
                </c:pt>
                <c:pt idx="147">
                  <c:v>40689</c:v>
                </c:pt>
                <c:pt idx="148">
                  <c:v>40690</c:v>
                </c:pt>
                <c:pt idx="149">
                  <c:v>40693</c:v>
                </c:pt>
                <c:pt idx="150">
                  <c:v>40694</c:v>
                </c:pt>
                <c:pt idx="151">
                  <c:v>40695</c:v>
                </c:pt>
                <c:pt idx="152">
                  <c:v>40696</c:v>
                </c:pt>
                <c:pt idx="153">
                  <c:v>40697</c:v>
                </c:pt>
                <c:pt idx="154">
                  <c:v>40700</c:v>
                </c:pt>
                <c:pt idx="155">
                  <c:v>40701</c:v>
                </c:pt>
                <c:pt idx="156">
                  <c:v>40702</c:v>
                </c:pt>
                <c:pt idx="157">
                  <c:v>40703</c:v>
                </c:pt>
                <c:pt idx="158">
                  <c:v>40704</c:v>
                </c:pt>
                <c:pt idx="159">
                  <c:v>40707</c:v>
                </c:pt>
                <c:pt idx="160">
                  <c:v>40708</c:v>
                </c:pt>
                <c:pt idx="161">
                  <c:v>40709</c:v>
                </c:pt>
                <c:pt idx="162">
                  <c:v>40710</c:v>
                </c:pt>
                <c:pt idx="163">
                  <c:v>40711</c:v>
                </c:pt>
                <c:pt idx="164">
                  <c:v>40714</c:v>
                </c:pt>
                <c:pt idx="165">
                  <c:v>40715</c:v>
                </c:pt>
                <c:pt idx="166">
                  <c:v>40716</c:v>
                </c:pt>
                <c:pt idx="167">
                  <c:v>40717</c:v>
                </c:pt>
                <c:pt idx="168">
                  <c:v>40718</c:v>
                </c:pt>
                <c:pt idx="169">
                  <c:v>40721</c:v>
                </c:pt>
                <c:pt idx="170">
                  <c:v>40722</c:v>
                </c:pt>
                <c:pt idx="171">
                  <c:v>40723</c:v>
                </c:pt>
                <c:pt idx="172">
                  <c:v>40724</c:v>
                </c:pt>
                <c:pt idx="173">
                  <c:v>40725</c:v>
                </c:pt>
                <c:pt idx="174">
                  <c:v>40728</c:v>
                </c:pt>
                <c:pt idx="175">
                  <c:v>40729</c:v>
                </c:pt>
                <c:pt idx="176">
                  <c:v>40730</c:v>
                </c:pt>
                <c:pt idx="177">
                  <c:v>40731</c:v>
                </c:pt>
                <c:pt idx="178">
                  <c:v>40732</c:v>
                </c:pt>
                <c:pt idx="179">
                  <c:v>40735</c:v>
                </c:pt>
                <c:pt idx="180">
                  <c:v>40736</c:v>
                </c:pt>
                <c:pt idx="181">
                  <c:v>40737</c:v>
                </c:pt>
                <c:pt idx="182">
                  <c:v>40738</c:v>
                </c:pt>
                <c:pt idx="183">
                  <c:v>40739</c:v>
                </c:pt>
                <c:pt idx="184">
                  <c:v>40742</c:v>
                </c:pt>
                <c:pt idx="185">
                  <c:v>40743</c:v>
                </c:pt>
                <c:pt idx="186">
                  <c:v>40744</c:v>
                </c:pt>
                <c:pt idx="187">
                  <c:v>40745</c:v>
                </c:pt>
                <c:pt idx="188">
                  <c:v>40746</c:v>
                </c:pt>
                <c:pt idx="189">
                  <c:v>40749</c:v>
                </c:pt>
                <c:pt idx="190">
                  <c:v>40750</c:v>
                </c:pt>
                <c:pt idx="191">
                  <c:v>40751</c:v>
                </c:pt>
                <c:pt idx="192">
                  <c:v>40752</c:v>
                </c:pt>
                <c:pt idx="193">
                  <c:v>40753</c:v>
                </c:pt>
                <c:pt idx="194">
                  <c:v>40756</c:v>
                </c:pt>
                <c:pt idx="195">
                  <c:v>40757</c:v>
                </c:pt>
                <c:pt idx="196">
                  <c:v>40758</c:v>
                </c:pt>
                <c:pt idx="197">
                  <c:v>40759</c:v>
                </c:pt>
                <c:pt idx="198">
                  <c:v>40760</c:v>
                </c:pt>
                <c:pt idx="199">
                  <c:v>40763</c:v>
                </c:pt>
                <c:pt idx="200">
                  <c:v>40764</c:v>
                </c:pt>
                <c:pt idx="201">
                  <c:v>40765</c:v>
                </c:pt>
                <c:pt idx="202">
                  <c:v>40766</c:v>
                </c:pt>
                <c:pt idx="203">
                  <c:v>40767</c:v>
                </c:pt>
                <c:pt idx="204">
                  <c:v>40770</c:v>
                </c:pt>
                <c:pt idx="205">
                  <c:v>40771</c:v>
                </c:pt>
                <c:pt idx="206">
                  <c:v>40772</c:v>
                </c:pt>
                <c:pt idx="207">
                  <c:v>40773</c:v>
                </c:pt>
                <c:pt idx="208">
                  <c:v>40774</c:v>
                </c:pt>
                <c:pt idx="209">
                  <c:v>40777</c:v>
                </c:pt>
                <c:pt idx="210">
                  <c:v>40778</c:v>
                </c:pt>
                <c:pt idx="211">
                  <c:v>40779</c:v>
                </c:pt>
                <c:pt idx="212">
                  <c:v>40780</c:v>
                </c:pt>
                <c:pt idx="213">
                  <c:v>40781</c:v>
                </c:pt>
                <c:pt idx="214">
                  <c:v>40784</c:v>
                </c:pt>
                <c:pt idx="215">
                  <c:v>40785</c:v>
                </c:pt>
                <c:pt idx="216">
                  <c:v>40786</c:v>
                </c:pt>
                <c:pt idx="217">
                  <c:v>40787</c:v>
                </c:pt>
                <c:pt idx="218">
                  <c:v>40788</c:v>
                </c:pt>
                <c:pt idx="219">
                  <c:v>40791</c:v>
                </c:pt>
                <c:pt idx="220">
                  <c:v>40792</c:v>
                </c:pt>
                <c:pt idx="221">
                  <c:v>40793</c:v>
                </c:pt>
                <c:pt idx="222">
                  <c:v>40794</c:v>
                </c:pt>
                <c:pt idx="223">
                  <c:v>40795</c:v>
                </c:pt>
                <c:pt idx="224">
                  <c:v>40798</c:v>
                </c:pt>
                <c:pt idx="225">
                  <c:v>40799</c:v>
                </c:pt>
                <c:pt idx="226">
                  <c:v>40800</c:v>
                </c:pt>
                <c:pt idx="227">
                  <c:v>40801</c:v>
                </c:pt>
                <c:pt idx="228">
                  <c:v>40802</c:v>
                </c:pt>
                <c:pt idx="229">
                  <c:v>40805</c:v>
                </c:pt>
                <c:pt idx="230">
                  <c:v>40806</c:v>
                </c:pt>
                <c:pt idx="231">
                  <c:v>40807</c:v>
                </c:pt>
                <c:pt idx="232">
                  <c:v>40808</c:v>
                </c:pt>
                <c:pt idx="233">
                  <c:v>40809</c:v>
                </c:pt>
                <c:pt idx="234">
                  <c:v>40812</c:v>
                </c:pt>
                <c:pt idx="235">
                  <c:v>40813</c:v>
                </c:pt>
                <c:pt idx="236">
                  <c:v>40814</c:v>
                </c:pt>
                <c:pt idx="237">
                  <c:v>40815</c:v>
                </c:pt>
                <c:pt idx="238">
                  <c:v>40816</c:v>
                </c:pt>
                <c:pt idx="239">
                  <c:v>40819</c:v>
                </c:pt>
                <c:pt idx="240">
                  <c:v>40820</c:v>
                </c:pt>
                <c:pt idx="241">
                  <c:v>40821</c:v>
                </c:pt>
                <c:pt idx="242">
                  <c:v>40822</c:v>
                </c:pt>
                <c:pt idx="243">
                  <c:v>40823</c:v>
                </c:pt>
                <c:pt idx="244">
                  <c:v>40826</c:v>
                </c:pt>
                <c:pt idx="245">
                  <c:v>40827</c:v>
                </c:pt>
                <c:pt idx="246">
                  <c:v>40828</c:v>
                </c:pt>
                <c:pt idx="247">
                  <c:v>40829</c:v>
                </c:pt>
                <c:pt idx="248">
                  <c:v>40830</c:v>
                </c:pt>
                <c:pt idx="249">
                  <c:v>40833</c:v>
                </c:pt>
                <c:pt idx="250">
                  <c:v>40834</c:v>
                </c:pt>
                <c:pt idx="251">
                  <c:v>40835</c:v>
                </c:pt>
                <c:pt idx="252">
                  <c:v>40836</c:v>
                </c:pt>
                <c:pt idx="253">
                  <c:v>40837</c:v>
                </c:pt>
                <c:pt idx="254">
                  <c:v>40840</c:v>
                </c:pt>
                <c:pt idx="255">
                  <c:v>40841</c:v>
                </c:pt>
                <c:pt idx="256">
                  <c:v>40842</c:v>
                </c:pt>
                <c:pt idx="257">
                  <c:v>40843</c:v>
                </c:pt>
                <c:pt idx="258">
                  <c:v>40844</c:v>
                </c:pt>
                <c:pt idx="259">
                  <c:v>40847</c:v>
                </c:pt>
                <c:pt idx="260">
                  <c:v>40848</c:v>
                </c:pt>
                <c:pt idx="261">
                  <c:v>40849</c:v>
                </c:pt>
                <c:pt idx="262">
                  <c:v>40850</c:v>
                </c:pt>
                <c:pt idx="263">
                  <c:v>40851</c:v>
                </c:pt>
                <c:pt idx="264">
                  <c:v>40854</c:v>
                </c:pt>
                <c:pt idx="265">
                  <c:v>40855</c:v>
                </c:pt>
                <c:pt idx="266">
                  <c:v>40856</c:v>
                </c:pt>
                <c:pt idx="267">
                  <c:v>40857</c:v>
                </c:pt>
                <c:pt idx="268">
                  <c:v>40858</c:v>
                </c:pt>
                <c:pt idx="269">
                  <c:v>40861</c:v>
                </c:pt>
                <c:pt idx="270">
                  <c:v>40862</c:v>
                </c:pt>
                <c:pt idx="271">
                  <c:v>40863</c:v>
                </c:pt>
                <c:pt idx="272">
                  <c:v>40864</c:v>
                </c:pt>
                <c:pt idx="273">
                  <c:v>40865</c:v>
                </c:pt>
                <c:pt idx="274">
                  <c:v>40868</c:v>
                </c:pt>
                <c:pt idx="275">
                  <c:v>40869</c:v>
                </c:pt>
                <c:pt idx="276">
                  <c:v>40870</c:v>
                </c:pt>
                <c:pt idx="277">
                  <c:v>40871</c:v>
                </c:pt>
                <c:pt idx="278">
                  <c:v>40872</c:v>
                </c:pt>
                <c:pt idx="279">
                  <c:v>40875</c:v>
                </c:pt>
                <c:pt idx="280">
                  <c:v>40876</c:v>
                </c:pt>
                <c:pt idx="281">
                  <c:v>40877</c:v>
                </c:pt>
                <c:pt idx="282">
                  <c:v>40878</c:v>
                </c:pt>
                <c:pt idx="283">
                  <c:v>40879</c:v>
                </c:pt>
                <c:pt idx="284">
                  <c:v>40882</c:v>
                </c:pt>
                <c:pt idx="285">
                  <c:v>40883</c:v>
                </c:pt>
                <c:pt idx="286">
                  <c:v>40884</c:v>
                </c:pt>
                <c:pt idx="287">
                  <c:v>40885</c:v>
                </c:pt>
                <c:pt idx="288">
                  <c:v>40886</c:v>
                </c:pt>
                <c:pt idx="289">
                  <c:v>40889</c:v>
                </c:pt>
                <c:pt idx="290">
                  <c:v>40890</c:v>
                </c:pt>
                <c:pt idx="291">
                  <c:v>40891</c:v>
                </c:pt>
                <c:pt idx="292">
                  <c:v>40892</c:v>
                </c:pt>
                <c:pt idx="293">
                  <c:v>40893</c:v>
                </c:pt>
                <c:pt idx="294">
                  <c:v>40896</c:v>
                </c:pt>
                <c:pt idx="295">
                  <c:v>40897</c:v>
                </c:pt>
                <c:pt idx="296">
                  <c:v>40898</c:v>
                </c:pt>
                <c:pt idx="297">
                  <c:v>40899</c:v>
                </c:pt>
                <c:pt idx="298">
                  <c:v>40900</c:v>
                </c:pt>
                <c:pt idx="299">
                  <c:v>40904</c:v>
                </c:pt>
                <c:pt idx="300">
                  <c:v>40905</c:v>
                </c:pt>
                <c:pt idx="301">
                  <c:v>40906</c:v>
                </c:pt>
                <c:pt idx="302">
                  <c:v>40907</c:v>
                </c:pt>
                <c:pt idx="303">
                  <c:v>40910</c:v>
                </c:pt>
                <c:pt idx="304">
                  <c:v>40911</c:v>
                </c:pt>
                <c:pt idx="305">
                  <c:v>40912</c:v>
                </c:pt>
                <c:pt idx="306">
                  <c:v>40913</c:v>
                </c:pt>
                <c:pt idx="307">
                  <c:v>40914</c:v>
                </c:pt>
                <c:pt idx="308">
                  <c:v>40917</c:v>
                </c:pt>
                <c:pt idx="309">
                  <c:v>40918</c:v>
                </c:pt>
                <c:pt idx="310">
                  <c:v>40919</c:v>
                </c:pt>
                <c:pt idx="311">
                  <c:v>40920</c:v>
                </c:pt>
                <c:pt idx="312">
                  <c:v>40921</c:v>
                </c:pt>
                <c:pt idx="313">
                  <c:v>40924</c:v>
                </c:pt>
                <c:pt idx="314">
                  <c:v>40925</c:v>
                </c:pt>
                <c:pt idx="315">
                  <c:v>40926</c:v>
                </c:pt>
                <c:pt idx="316">
                  <c:v>40927</c:v>
                </c:pt>
                <c:pt idx="317">
                  <c:v>40928</c:v>
                </c:pt>
                <c:pt idx="318">
                  <c:v>40931</c:v>
                </c:pt>
                <c:pt idx="319">
                  <c:v>40932</c:v>
                </c:pt>
                <c:pt idx="320">
                  <c:v>40933</c:v>
                </c:pt>
                <c:pt idx="321">
                  <c:v>40934</c:v>
                </c:pt>
                <c:pt idx="322">
                  <c:v>40935</c:v>
                </c:pt>
                <c:pt idx="323">
                  <c:v>40938</c:v>
                </c:pt>
                <c:pt idx="324">
                  <c:v>40939</c:v>
                </c:pt>
                <c:pt idx="325">
                  <c:v>40940</c:v>
                </c:pt>
                <c:pt idx="326">
                  <c:v>40941</c:v>
                </c:pt>
                <c:pt idx="327">
                  <c:v>40942</c:v>
                </c:pt>
                <c:pt idx="328">
                  <c:v>40945</c:v>
                </c:pt>
                <c:pt idx="329">
                  <c:v>40946</c:v>
                </c:pt>
                <c:pt idx="330">
                  <c:v>40947</c:v>
                </c:pt>
                <c:pt idx="331">
                  <c:v>40948</c:v>
                </c:pt>
                <c:pt idx="332">
                  <c:v>40949</c:v>
                </c:pt>
                <c:pt idx="333">
                  <c:v>40952</c:v>
                </c:pt>
                <c:pt idx="334">
                  <c:v>40953</c:v>
                </c:pt>
                <c:pt idx="335">
                  <c:v>40954</c:v>
                </c:pt>
                <c:pt idx="336">
                  <c:v>40955</c:v>
                </c:pt>
                <c:pt idx="337">
                  <c:v>40956</c:v>
                </c:pt>
                <c:pt idx="338">
                  <c:v>40959</c:v>
                </c:pt>
                <c:pt idx="339">
                  <c:v>40960</c:v>
                </c:pt>
                <c:pt idx="340">
                  <c:v>40961</c:v>
                </c:pt>
                <c:pt idx="341">
                  <c:v>40962</c:v>
                </c:pt>
                <c:pt idx="342">
                  <c:v>40963</c:v>
                </c:pt>
                <c:pt idx="343">
                  <c:v>40966</c:v>
                </c:pt>
                <c:pt idx="344">
                  <c:v>40967</c:v>
                </c:pt>
                <c:pt idx="345">
                  <c:v>40968</c:v>
                </c:pt>
                <c:pt idx="346">
                  <c:v>40969</c:v>
                </c:pt>
                <c:pt idx="347">
                  <c:v>40970</c:v>
                </c:pt>
                <c:pt idx="348">
                  <c:v>40973</c:v>
                </c:pt>
                <c:pt idx="349">
                  <c:v>40974</c:v>
                </c:pt>
                <c:pt idx="350">
                  <c:v>40975</c:v>
                </c:pt>
                <c:pt idx="351">
                  <c:v>40976</c:v>
                </c:pt>
                <c:pt idx="352">
                  <c:v>40977</c:v>
                </c:pt>
                <c:pt idx="353">
                  <c:v>40980</c:v>
                </c:pt>
                <c:pt idx="354">
                  <c:v>40981</c:v>
                </c:pt>
                <c:pt idx="355">
                  <c:v>40982</c:v>
                </c:pt>
                <c:pt idx="356">
                  <c:v>40983</c:v>
                </c:pt>
                <c:pt idx="357">
                  <c:v>40984</c:v>
                </c:pt>
                <c:pt idx="358">
                  <c:v>40987</c:v>
                </c:pt>
                <c:pt idx="359">
                  <c:v>40988</c:v>
                </c:pt>
                <c:pt idx="360">
                  <c:v>40989</c:v>
                </c:pt>
                <c:pt idx="361">
                  <c:v>40990</c:v>
                </c:pt>
                <c:pt idx="362">
                  <c:v>40991</c:v>
                </c:pt>
                <c:pt idx="363">
                  <c:v>40994</c:v>
                </c:pt>
                <c:pt idx="364">
                  <c:v>40995</c:v>
                </c:pt>
                <c:pt idx="365">
                  <c:v>40996</c:v>
                </c:pt>
                <c:pt idx="366">
                  <c:v>40997</c:v>
                </c:pt>
                <c:pt idx="367">
                  <c:v>40998</c:v>
                </c:pt>
                <c:pt idx="368">
                  <c:v>41001</c:v>
                </c:pt>
                <c:pt idx="369">
                  <c:v>41002</c:v>
                </c:pt>
                <c:pt idx="370">
                  <c:v>41003</c:v>
                </c:pt>
                <c:pt idx="371">
                  <c:v>41004</c:v>
                </c:pt>
                <c:pt idx="372">
                  <c:v>41009</c:v>
                </c:pt>
                <c:pt idx="373">
                  <c:v>41010</c:v>
                </c:pt>
                <c:pt idx="374">
                  <c:v>41011</c:v>
                </c:pt>
                <c:pt idx="375">
                  <c:v>41012</c:v>
                </c:pt>
                <c:pt idx="376">
                  <c:v>41015</c:v>
                </c:pt>
                <c:pt idx="377">
                  <c:v>41016</c:v>
                </c:pt>
                <c:pt idx="378">
                  <c:v>41017</c:v>
                </c:pt>
                <c:pt idx="379">
                  <c:v>41018</c:v>
                </c:pt>
                <c:pt idx="380">
                  <c:v>41019</c:v>
                </c:pt>
                <c:pt idx="381">
                  <c:v>41022</c:v>
                </c:pt>
                <c:pt idx="382">
                  <c:v>41023</c:v>
                </c:pt>
                <c:pt idx="383">
                  <c:v>41024</c:v>
                </c:pt>
                <c:pt idx="384">
                  <c:v>41025</c:v>
                </c:pt>
                <c:pt idx="385">
                  <c:v>41026</c:v>
                </c:pt>
                <c:pt idx="386">
                  <c:v>41029</c:v>
                </c:pt>
                <c:pt idx="387">
                  <c:v>41030</c:v>
                </c:pt>
                <c:pt idx="388">
                  <c:v>41031</c:v>
                </c:pt>
                <c:pt idx="389">
                  <c:v>41032</c:v>
                </c:pt>
                <c:pt idx="390">
                  <c:v>41033</c:v>
                </c:pt>
                <c:pt idx="391">
                  <c:v>41036</c:v>
                </c:pt>
                <c:pt idx="392">
                  <c:v>41037</c:v>
                </c:pt>
                <c:pt idx="393">
                  <c:v>41038</c:v>
                </c:pt>
                <c:pt idx="394">
                  <c:v>41039</c:v>
                </c:pt>
                <c:pt idx="395">
                  <c:v>41040</c:v>
                </c:pt>
                <c:pt idx="396">
                  <c:v>41043</c:v>
                </c:pt>
                <c:pt idx="397">
                  <c:v>41044</c:v>
                </c:pt>
                <c:pt idx="398">
                  <c:v>41045</c:v>
                </c:pt>
                <c:pt idx="399">
                  <c:v>41046</c:v>
                </c:pt>
                <c:pt idx="400">
                  <c:v>41047</c:v>
                </c:pt>
                <c:pt idx="401">
                  <c:v>41050</c:v>
                </c:pt>
                <c:pt idx="402">
                  <c:v>41051</c:v>
                </c:pt>
                <c:pt idx="403">
                  <c:v>41052</c:v>
                </c:pt>
                <c:pt idx="404">
                  <c:v>41053</c:v>
                </c:pt>
                <c:pt idx="405">
                  <c:v>41054</c:v>
                </c:pt>
                <c:pt idx="406">
                  <c:v>41057</c:v>
                </c:pt>
                <c:pt idx="407">
                  <c:v>41058</c:v>
                </c:pt>
                <c:pt idx="408">
                  <c:v>41059</c:v>
                </c:pt>
                <c:pt idx="409">
                  <c:v>41060</c:v>
                </c:pt>
                <c:pt idx="410">
                  <c:v>41061</c:v>
                </c:pt>
                <c:pt idx="411">
                  <c:v>41064</c:v>
                </c:pt>
                <c:pt idx="412">
                  <c:v>41065</c:v>
                </c:pt>
                <c:pt idx="413">
                  <c:v>41066</c:v>
                </c:pt>
                <c:pt idx="414">
                  <c:v>41067</c:v>
                </c:pt>
                <c:pt idx="415">
                  <c:v>41068</c:v>
                </c:pt>
                <c:pt idx="416">
                  <c:v>41071</c:v>
                </c:pt>
                <c:pt idx="417">
                  <c:v>41072</c:v>
                </c:pt>
                <c:pt idx="418">
                  <c:v>41073</c:v>
                </c:pt>
                <c:pt idx="419">
                  <c:v>41074</c:v>
                </c:pt>
                <c:pt idx="420">
                  <c:v>41075</c:v>
                </c:pt>
                <c:pt idx="421">
                  <c:v>41078</c:v>
                </c:pt>
                <c:pt idx="422">
                  <c:v>41079</c:v>
                </c:pt>
                <c:pt idx="423">
                  <c:v>41080</c:v>
                </c:pt>
                <c:pt idx="424">
                  <c:v>41081</c:v>
                </c:pt>
                <c:pt idx="425">
                  <c:v>41082</c:v>
                </c:pt>
                <c:pt idx="426">
                  <c:v>41085</c:v>
                </c:pt>
                <c:pt idx="427">
                  <c:v>41086</c:v>
                </c:pt>
                <c:pt idx="428">
                  <c:v>41087</c:v>
                </c:pt>
                <c:pt idx="429">
                  <c:v>41088</c:v>
                </c:pt>
                <c:pt idx="430">
                  <c:v>41089</c:v>
                </c:pt>
                <c:pt idx="431">
                  <c:v>41092</c:v>
                </c:pt>
                <c:pt idx="432">
                  <c:v>41093</c:v>
                </c:pt>
                <c:pt idx="433">
                  <c:v>41094</c:v>
                </c:pt>
                <c:pt idx="434">
                  <c:v>41095</c:v>
                </c:pt>
                <c:pt idx="435">
                  <c:v>41096</c:v>
                </c:pt>
                <c:pt idx="436">
                  <c:v>41099</c:v>
                </c:pt>
                <c:pt idx="437">
                  <c:v>41100</c:v>
                </c:pt>
                <c:pt idx="438">
                  <c:v>41101</c:v>
                </c:pt>
                <c:pt idx="439">
                  <c:v>41102</c:v>
                </c:pt>
                <c:pt idx="440">
                  <c:v>41103</c:v>
                </c:pt>
                <c:pt idx="441">
                  <c:v>41106</c:v>
                </c:pt>
                <c:pt idx="442">
                  <c:v>41107</c:v>
                </c:pt>
                <c:pt idx="443">
                  <c:v>41108</c:v>
                </c:pt>
                <c:pt idx="444">
                  <c:v>41109</c:v>
                </c:pt>
                <c:pt idx="445">
                  <c:v>41110</c:v>
                </c:pt>
                <c:pt idx="446">
                  <c:v>41113</c:v>
                </c:pt>
                <c:pt idx="447">
                  <c:v>41114</c:v>
                </c:pt>
                <c:pt idx="448">
                  <c:v>41115</c:v>
                </c:pt>
                <c:pt idx="449">
                  <c:v>41116</c:v>
                </c:pt>
                <c:pt idx="450">
                  <c:v>41117</c:v>
                </c:pt>
                <c:pt idx="451">
                  <c:v>41120</c:v>
                </c:pt>
                <c:pt idx="452">
                  <c:v>41121</c:v>
                </c:pt>
                <c:pt idx="453">
                  <c:v>41122</c:v>
                </c:pt>
                <c:pt idx="454">
                  <c:v>41123</c:v>
                </c:pt>
                <c:pt idx="455">
                  <c:v>41124</c:v>
                </c:pt>
                <c:pt idx="456">
                  <c:v>41127</c:v>
                </c:pt>
                <c:pt idx="457">
                  <c:v>41128</c:v>
                </c:pt>
                <c:pt idx="458">
                  <c:v>41129</c:v>
                </c:pt>
                <c:pt idx="459">
                  <c:v>41130</c:v>
                </c:pt>
                <c:pt idx="460">
                  <c:v>41131</c:v>
                </c:pt>
                <c:pt idx="461">
                  <c:v>41134</c:v>
                </c:pt>
                <c:pt idx="462">
                  <c:v>41135</c:v>
                </c:pt>
                <c:pt idx="463">
                  <c:v>41136</c:v>
                </c:pt>
                <c:pt idx="464">
                  <c:v>41137</c:v>
                </c:pt>
                <c:pt idx="465">
                  <c:v>41138</c:v>
                </c:pt>
                <c:pt idx="466">
                  <c:v>41141</c:v>
                </c:pt>
                <c:pt idx="467">
                  <c:v>41142</c:v>
                </c:pt>
                <c:pt idx="468">
                  <c:v>41143</c:v>
                </c:pt>
                <c:pt idx="469">
                  <c:v>41144</c:v>
                </c:pt>
                <c:pt idx="470">
                  <c:v>41145</c:v>
                </c:pt>
                <c:pt idx="471">
                  <c:v>41148</c:v>
                </c:pt>
                <c:pt idx="472">
                  <c:v>41149</c:v>
                </c:pt>
                <c:pt idx="473">
                  <c:v>41150</c:v>
                </c:pt>
                <c:pt idx="474">
                  <c:v>41151</c:v>
                </c:pt>
                <c:pt idx="475">
                  <c:v>41152</c:v>
                </c:pt>
                <c:pt idx="476">
                  <c:v>41155</c:v>
                </c:pt>
                <c:pt idx="477">
                  <c:v>41156</c:v>
                </c:pt>
                <c:pt idx="478">
                  <c:v>41157</c:v>
                </c:pt>
                <c:pt idx="479">
                  <c:v>41158</c:v>
                </c:pt>
                <c:pt idx="480">
                  <c:v>41159</c:v>
                </c:pt>
                <c:pt idx="481">
                  <c:v>41162</c:v>
                </c:pt>
                <c:pt idx="482">
                  <c:v>41163</c:v>
                </c:pt>
                <c:pt idx="483">
                  <c:v>41164</c:v>
                </c:pt>
                <c:pt idx="484">
                  <c:v>41165</c:v>
                </c:pt>
                <c:pt idx="485">
                  <c:v>41166</c:v>
                </c:pt>
                <c:pt idx="486">
                  <c:v>41169</c:v>
                </c:pt>
                <c:pt idx="487">
                  <c:v>41170</c:v>
                </c:pt>
                <c:pt idx="488">
                  <c:v>41171</c:v>
                </c:pt>
                <c:pt idx="489">
                  <c:v>41172</c:v>
                </c:pt>
                <c:pt idx="490">
                  <c:v>41173</c:v>
                </c:pt>
                <c:pt idx="491">
                  <c:v>41176</c:v>
                </c:pt>
                <c:pt idx="492">
                  <c:v>41177</c:v>
                </c:pt>
                <c:pt idx="493">
                  <c:v>41178</c:v>
                </c:pt>
                <c:pt idx="494">
                  <c:v>41179</c:v>
                </c:pt>
                <c:pt idx="495">
                  <c:v>41180</c:v>
                </c:pt>
                <c:pt idx="496">
                  <c:v>41183</c:v>
                </c:pt>
                <c:pt idx="497">
                  <c:v>41184</c:v>
                </c:pt>
                <c:pt idx="498">
                  <c:v>41185</c:v>
                </c:pt>
                <c:pt idx="499">
                  <c:v>41186</c:v>
                </c:pt>
                <c:pt idx="500">
                  <c:v>41187</c:v>
                </c:pt>
                <c:pt idx="501">
                  <c:v>41190</c:v>
                </c:pt>
                <c:pt idx="502">
                  <c:v>41191</c:v>
                </c:pt>
                <c:pt idx="503">
                  <c:v>41192</c:v>
                </c:pt>
                <c:pt idx="504">
                  <c:v>41193</c:v>
                </c:pt>
                <c:pt idx="505">
                  <c:v>41194</c:v>
                </c:pt>
                <c:pt idx="506">
                  <c:v>41197</c:v>
                </c:pt>
                <c:pt idx="507">
                  <c:v>41198</c:v>
                </c:pt>
                <c:pt idx="508">
                  <c:v>41199</c:v>
                </c:pt>
                <c:pt idx="509">
                  <c:v>41200</c:v>
                </c:pt>
                <c:pt idx="510">
                  <c:v>41201</c:v>
                </c:pt>
                <c:pt idx="511">
                  <c:v>41204</c:v>
                </c:pt>
                <c:pt idx="512">
                  <c:v>41205</c:v>
                </c:pt>
                <c:pt idx="513">
                  <c:v>41206</c:v>
                </c:pt>
                <c:pt idx="514">
                  <c:v>41207</c:v>
                </c:pt>
                <c:pt idx="515">
                  <c:v>41208</c:v>
                </c:pt>
                <c:pt idx="516">
                  <c:v>41211</c:v>
                </c:pt>
                <c:pt idx="517">
                  <c:v>41212</c:v>
                </c:pt>
                <c:pt idx="518">
                  <c:v>41213</c:v>
                </c:pt>
                <c:pt idx="519">
                  <c:v>41214</c:v>
                </c:pt>
                <c:pt idx="520">
                  <c:v>41215</c:v>
                </c:pt>
                <c:pt idx="521">
                  <c:v>41218</c:v>
                </c:pt>
                <c:pt idx="522">
                  <c:v>41219</c:v>
                </c:pt>
                <c:pt idx="523">
                  <c:v>41220</c:v>
                </c:pt>
                <c:pt idx="524">
                  <c:v>41221</c:v>
                </c:pt>
                <c:pt idx="525">
                  <c:v>41222</c:v>
                </c:pt>
                <c:pt idx="526">
                  <c:v>41225</c:v>
                </c:pt>
                <c:pt idx="527">
                  <c:v>41226</c:v>
                </c:pt>
                <c:pt idx="528">
                  <c:v>41227</c:v>
                </c:pt>
                <c:pt idx="529">
                  <c:v>41228</c:v>
                </c:pt>
                <c:pt idx="530">
                  <c:v>41229</c:v>
                </c:pt>
                <c:pt idx="531">
                  <c:v>41232</c:v>
                </c:pt>
                <c:pt idx="532">
                  <c:v>41233</c:v>
                </c:pt>
                <c:pt idx="533">
                  <c:v>41234</c:v>
                </c:pt>
                <c:pt idx="534">
                  <c:v>41235</c:v>
                </c:pt>
                <c:pt idx="535">
                  <c:v>41236</c:v>
                </c:pt>
                <c:pt idx="536">
                  <c:v>41239</c:v>
                </c:pt>
                <c:pt idx="537">
                  <c:v>41240</c:v>
                </c:pt>
                <c:pt idx="538">
                  <c:v>41241</c:v>
                </c:pt>
                <c:pt idx="539">
                  <c:v>41242</c:v>
                </c:pt>
                <c:pt idx="540">
                  <c:v>41243</c:v>
                </c:pt>
                <c:pt idx="541">
                  <c:v>41246</c:v>
                </c:pt>
                <c:pt idx="542">
                  <c:v>41247</c:v>
                </c:pt>
                <c:pt idx="543">
                  <c:v>41248</c:v>
                </c:pt>
                <c:pt idx="544">
                  <c:v>41249</c:v>
                </c:pt>
                <c:pt idx="545">
                  <c:v>41250</c:v>
                </c:pt>
                <c:pt idx="546">
                  <c:v>41253</c:v>
                </c:pt>
                <c:pt idx="547">
                  <c:v>41254</c:v>
                </c:pt>
                <c:pt idx="548">
                  <c:v>41255</c:v>
                </c:pt>
                <c:pt idx="549">
                  <c:v>41256</c:v>
                </c:pt>
                <c:pt idx="550">
                  <c:v>41257</c:v>
                </c:pt>
                <c:pt idx="551">
                  <c:v>41260</c:v>
                </c:pt>
                <c:pt idx="552">
                  <c:v>41261</c:v>
                </c:pt>
                <c:pt idx="553">
                  <c:v>41262</c:v>
                </c:pt>
                <c:pt idx="554">
                  <c:v>41263</c:v>
                </c:pt>
                <c:pt idx="555">
                  <c:v>41264</c:v>
                </c:pt>
                <c:pt idx="556">
                  <c:v>41267</c:v>
                </c:pt>
                <c:pt idx="557">
                  <c:v>41270</c:v>
                </c:pt>
                <c:pt idx="558">
                  <c:v>41271</c:v>
                </c:pt>
                <c:pt idx="559">
                  <c:v>41274</c:v>
                </c:pt>
                <c:pt idx="560">
                  <c:v>41276</c:v>
                </c:pt>
                <c:pt idx="561">
                  <c:v>41277</c:v>
                </c:pt>
                <c:pt idx="562">
                  <c:v>41278</c:v>
                </c:pt>
                <c:pt idx="563">
                  <c:v>41281</c:v>
                </c:pt>
                <c:pt idx="564">
                  <c:v>41282</c:v>
                </c:pt>
                <c:pt idx="565">
                  <c:v>41283</c:v>
                </c:pt>
                <c:pt idx="566">
                  <c:v>41284</c:v>
                </c:pt>
                <c:pt idx="567">
                  <c:v>41285</c:v>
                </c:pt>
                <c:pt idx="568">
                  <c:v>41288</c:v>
                </c:pt>
                <c:pt idx="569">
                  <c:v>41289</c:v>
                </c:pt>
                <c:pt idx="570">
                  <c:v>41290</c:v>
                </c:pt>
                <c:pt idx="571">
                  <c:v>41291</c:v>
                </c:pt>
                <c:pt idx="572">
                  <c:v>41292</c:v>
                </c:pt>
                <c:pt idx="573">
                  <c:v>41295</c:v>
                </c:pt>
                <c:pt idx="574">
                  <c:v>41296</c:v>
                </c:pt>
                <c:pt idx="575">
                  <c:v>41297</c:v>
                </c:pt>
                <c:pt idx="576">
                  <c:v>41298</c:v>
                </c:pt>
                <c:pt idx="577">
                  <c:v>41299</c:v>
                </c:pt>
                <c:pt idx="578">
                  <c:v>41302</c:v>
                </c:pt>
                <c:pt idx="579">
                  <c:v>41303</c:v>
                </c:pt>
                <c:pt idx="580">
                  <c:v>41304</c:v>
                </c:pt>
                <c:pt idx="581">
                  <c:v>41305</c:v>
                </c:pt>
                <c:pt idx="582">
                  <c:v>41306</c:v>
                </c:pt>
                <c:pt idx="583">
                  <c:v>41309</c:v>
                </c:pt>
                <c:pt idx="584">
                  <c:v>41310</c:v>
                </c:pt>
                <c:pt idx="585">
                  <c:v>41311</c:v>
                </c:pt>
                <c:pt idx="586">
                  <c:v>41312</c:v>
                </c:pt>
                <c:pt idx="587">
                  <c:v>41313</c:v>
                </c:pt>
                <c:pt idx="588">
                  <c:v>41316</c:v>
                </c:pt>
                <c:pt idx="589">
                  <c:v>41317</c:v>
                </c:pt>
                <c:pt idx="590">
                  <c:v>41318</c:v>
                </c:pt>
                <c:pt idx="591">
                  <c:v>41319</c:v>
                </c:pt>
                <c:pt idx="592">
                  <c:v>41320</c:v>
                </c:pt>
                <c:pt idx="593">
                  <c:v>41323</c:v>
                </c:pt>
                <c:pt idx="594">
                  <c:v>41324</c:v>
                </c:pt>
                <c:pt idx="595">
                  <c:v>41325</c:v>
                </c:pt>
                <c:pt idx="596">
                  <c:v>41326</c:v>
                </c:pt>
                <c:pt idx="597">
                  <c:v>41327</c:v>
                </c:pt>
                <c:pt idx="598">
                  <c:v>41330</c:v>
                </c:pt>
                <c:pt idx="599">
                  <c:v>41331</c:v>
                </c:pt>
                <c:pt idx="600">
                  <c:v>41332</c:v>
                </c:pt>
                <c:pt idx="601">
                  <c:v>41333</c:v>
                </c:pt>
                <c:pt idx="602">
                  <c:v>41334</c:v>
                </c:pt>
                <c:pt idx="603">
                  <c:v>41337</c:v>
                </c:pt>
                <c:pt idx="604">
                  <c:v>41338</c:v>
                </c:pt>
                <c:pt idx="605">
                  <c:v>41339</c:v>
                </c:pt>
                <c:pt idx="606">
                  <c:v>41340</c:v>
                </c:pt>
                <c:pt idx="607">
                  <c:v>41341</c:v>
                </c:pt>
                <c:pt idx="608">
                  <c:v>41344</c:v>
                </c:pt>
                <c:pt idx="609">
                  <c:v>41345</c:v>
                </c:pt>
                <c:pt idx="610">
                  <c:v>41346</c:v>
                </c:pt>
                <c:pt idx="611">
                  <c:v>41347</c:v>
                </c:pt>
                <c:pt idx="612">
                  <c:v>41348</c:v>
                </c:pt>
                <c:pt idx="613">
                  <c:v>41351</c:v>
                </c:pt>
                <c:pt idx="614">
                  <c:v>41352</c:v>
                </c:pt>
                <c:pt idx="615">
                  <c:v>41353</c:v>
                </c:pt>
                <c:pt idx="616">
                  <c:v>41354</c:v>
                </c:pt>
                <c:pt idx="617">
                  <c:v>41355</c:v>
                </c:pt>
                <c:pt idx="618">
                  <c:v>41358</c:v>
                </c:pt>
                <c:pt idx="619">
                  <c:v>41359</c:v>
                </c:pt>
                <c:pt idx="620">
                  <c:v>41360</c:v>
                </c:pt>
                <c:pt idx="621">
                  <c:v>41361</c:v>
                </c:pt>
                <c:pt idx="622">
                  <c:v>41366</c:v>
                </c:pt>
                <c:pt idx="623">
                  <c:v>41367</c:v>
                </c:pt>
                <c:pt idx="624">
                  <c:v>41368</c:v>
                </c:pt>
                <c:pt idx="625">
                  <c:v>41369</c:v>
                </c:pt>
                <c:pt idx="626">
                  <c:v>41372</c:v>
                </c:pt>
                <c:pt idx="627">
                  <c:v>41373</c:v>
                </c:pt>
                <c:pt idx="628">
                  <c:v>41374</c:v>
                </c:pt>
                <c:pt idx="629">
                  <c:v>41375</c:v>
                </c:pt>
                <c:pt idx="630">
                  <c:v>41376</c:v>
                </c:pt>
                <c:pt idx="631">
                  <c:v>41379</c:v>
                </c:pt>
                <c:pt idx="632">
                  <c:v>41380</c:v>
                </c:pt>
                <c:pt idx="633">
                  <c:v>41381</c:v>
                </c:pt>
                <c:pt idx="634">
                  <c:v>41382</c:v>
                </c:pt>
                <c:pt idx="635">
                  <c:v>41383</c:v>
                </c:pt>
                <c:pt idx="636">
                  <c:v>41386</c:v>
                </c:pt>
                <c:pt idx="637">
                  <c:v>41387</c:v>
                </c:pt>
                <c:pt idx="638">
                  <c:v>41388</c:v>
                </c:pt>
                <c:pt idx="639">
                  <c:v>41389</c:v>
                </c:pt>
                <c:pt idx="640">
                  <c:v>41390</c:v>
                </c:pt>
                <c:pt idx="641">
                  <c:v>41393</c:v>
                </c:pt>
                <c:pt idx="642">
                  <c:v>41394</c:v>
                </c:pt>
                <c:pt idx="643">
                  <c:v>41395</c:v>
                </c:pt>
                <c:pt idx="644">
                  <c:v>41396</c:v>
                </c:pt>
                <c:pt idx="645">
                  <c:v>41397</c:v>
                </c:pt>
                <c:pt idx="646">
                  <c:v>41400</c:v>
                </c:pt>
                <c:pt idx="647">
                  <c:v>41401</c:v>
                </c:pt>
                <c:pt idx="648">
                  <c:v>41402</c:v>
                </c:pt>
                <c:pt idx="649">
                  <c:v>41403</c:v>
                </c:pt>
                <c:pt idx="650">
                  <c:v>41404</c:v>
                </c:pt>
                <c:pt idx="651">
                  <c:v>41407</c:v>
                </c:pt>
                <c:pt idx="652">
                  <c:v>41408</c:v>
                </c:pt>
                <c:pt idx="653">
                  <c:v>41409</c:v>
                </c:pt>
                <c:pt idx="654">
                  <c:v>41410</c:v>
                </c:pt>
                <c:pt idx="655">
                  <c:v>41411</c:v>
                </c:pt>
                <c:pt idx="656">
                  <c:v>41414</c:v>
                </c:pt>
                <c:pt idx="657">
                  <c:v>41415</c:v>
                </c:pt>
                <c:pt idx="658">
                  <c:v>41416</c:v>
                </c:pt>
                <c:pt idx="659">
                  <c:v>41417</c:v>
                </c:pt>
                <c:pt idx="660">
                  <c:v>41418</c:v>
                </c:pt>
                <c:pt idx="661">
                  <c:v>41421</c:v>
                </c:pt>
                <c:pt idx="662">
                  <c:v>41422</c:v>
                </c:pt>
                <c:pt idx="663">
                  <c:v>41423</c:v>
                </c:pt>
                <c:pt idx="664">
                  <c:v>41424</c:v>
                </c:pt>
                <c:pt idx="665">
                  <c:v>41425</c:v>
                </c:pt>
                <c:pt idx="666">
                  <c:v>41428</c:v>
                </c:pt>
                <c:pt idx="667">
                  <c:v>41429</c:v>
                </c:pt>
                <c:pt idx="668">
                  <c:v>41430</c:v>
                </c:pt>
                <c:pt idx="669">
                  <c:v>41431</c:v>
                </c:pt>
                <c:pt idx="670">
                  <c:v>41432</c:v>
                </c:pt>
                <c:pt idx="671">
                  <c:v>41435</c:v>
                </c:pt>
                <c:pt idx="672">
                  <c:v>41436</c:v>
                </c:pt>
                <c:pt idx="673">
                  <c:v>41437</c:v>
                </c:pt>
                <c:pt idx="674">
                  <c:v>41438</c:v>
                </c:pt>
                <c:pt idx="675">
                  <c:v>41439</c:v>
                </c:pt>
                <c:pt idx="676">
                  <c:v>41442</c:v>
                </c:pt>
                <c:pt idx="677">
                  <c:v>41443</c:v>
                </c:pt>
                <c:pt idx="678">
                  <c:v>41444</c:v>
                </c:pt>
                <c:pt idx="679">
                  <c:v>41445</c:v>
                </c:pt>
                <c:pt idx="680">
                  <c:v>41446</c:v>
                </c:pt>
                <c:pt idx="681">
                  <c:v>41449</c:v>
                </c:pt>
                <c:pt idx="682">
                  <c:v>41450</c:v>
                </c:pt>
                <c:pt idx="683">
                  <c:v>41451</c:v>
                </c:pt>
                <c:pt idx="684">
                  <c:v>41452</c:v>
                </c:pt>
                <c:pt idx="685">
                  <c:v>41453</c:v>
                </c:pt>
                <c:pt idx="686">
                  <c:v>41456</c:v>
                </c:pt>
                <c:pt idx="687">
                  <c:v>41457</c:v>
                </c:pt>
                <c:pt idx="688">
                  <c:v>41458</c:v>
                </c:pt>
                <c:pt idx="689">
                  <c:v>41459</c:v>
                </c:pt>
                <c:pt idx="690">
                  <c:v>41460</c:v>
                </c:pt>
                <c:pt idx="691">
                  <c:v>41463</c:v>
                </c:pt>
                <c:pt idx="692">
                  <c:v>41464</c:v>
                </c:pt>
                <c:pt idx="693">
                  <c:v>41465</c:v>
                </c:pt>
                <c:pt idx="694">
                  <c:v>41466</c:v>
                </c:pt>
                <c:pt idx="695">
                  <c:v>41467</c:v>
                </c:pt>
                <c:pt idx="696">
                  <c:v>41470</c:v>
                </c:pt>
                <c:pt idx="697">
                  <c:v>41471</c:v>
                </c:pt>
                <c:pt idx="698">
                  <c:v>41472</c:v>
                </c:pt>
                <c:pt idx="699">
                  <c:v>41473</c:v>
                </c:pt>
                <c:pt idx="700">
                  <c:v>41474</c:v>
                </c:pt>
                <c:pt idx="701">
                  <c:v>41477</c:v>
                </c:pt>
                <c:pt idx="702">
                  <c:v>41478</c:v>
                </c:pt>
                <c:pt idx="703">
                  <c:v>41479</c:v>
                </c:pt>
                <c:pt idx="704">
                  <c:v>41480</c:v>
                </c:pt>
                <c:pt idx="705">
                  <c:v>41481</c:v>
                </c:pt>
                <c:pt idx="706">
                  <c:v>41484</c:v>
                </c:pt>
                <c:pt idx="707">
                  <c:v>41485</c:v>
                </c:pt>
                <c:pt idx="708">
                  <c:v>41486</c:v>
                </c:pt>
                <c:pt idx="709">
                  <c:v>41487</c:v>
                </c:pt>
                <c:pt idx="710">
                  <c:v>41488</c:v>
                </c:pt>
                <c:pt idx="711">
                  <c:v>41491</c:v>
                </c:pt>
                <c:pt idx="712">
                  <c:v>41492</c:v>
                </c:pt>
                <c:pt idx="713">
                  <c:v>41493</c:v>
                </c:pt>
                <c:pt idx="714">
                  <c:v>41494</c:v>
                </c:pt>
                <c:pt idx="715">
                  <c:v>41495</c:v>
                </c:pt>
                <c:pt idx="716">
                  <c:v>41498</c:v>
                </c:pt>
                <c:pt idx="717">
                  <c:v>41499</c:v>
                </c:pt>
                <c:pt idx="718">
                  <c:v>41500</c:v>
                </c:pt>
                <c:pt idx="719">
                  <c:v>41501</c:v>
                </c:pt>
                <c:pt idx="720">
                  <c:v>41502</c:v>
                </c:pt>
                <c:pt idx="721">
                  <c:v>41505</c:v>
                </c:pt>
                <c:pt idx="722">
                  <c:v>41506</c:v>
                </c:pt>
                <c:pt idx="723">
                  <c:v>41507</c:v>
                </c:pt>
                <c:pt idx="724">
                  <c:v>41508</c:v>
                </c:pt>
                <c:pt idx="725">
                  <c:v>41509</c:v>
                </c:pt>
                <c:pt idx="726">
                  <c:v>41512</c:v>
                </c:pt>
                <c:pt idx="727">
                  <c:v>41513</c:v>
                </c:pt>
                <c:pt idx="728">
                  <c:v>41514</c:v>
                </c:pt>
                <c:pt idx="729">
                  <c:v>41515</c:v>
                </c:pt>
                <c:pt idx="730">
                  <c:v>41516</c:v>
                </c:pt>
                <c:pt idx="731">
                  <c:v>41519</c:v>
                </c:pt>
                <c:pt idx="732">
                  <c:v>41520</c:v>
                </c:pt>
                <c:pt idx="733">
                  <c:v>41521</c:v>
                </c:pt>
                <c:pt idx="734">
                  <c:v>41522</c:v>
                </c:pt>
                <c:pt idx="735">
                  <c:v>41523</c:v>
                </c:pt>
                <c:pt idx="736">
                  <c:v>41526</c:v>
                </c:pt>
                <c:pt idx="737">
                  <c:v>41527</c:v>
                </c:pt>
                <c:pt idx="738">
                  <c:v>41528</c:v>
                </c:pt>
                <c:pt idx="739">
                  <c:v>41529</c:v>
                </c:pt>
                <c:pt idx="740">
                  <c:v>41530</c:v>
                </c:pt>
                <c:pt idx="741">
                  <c:v>41533</c:v>
                </c:pt>
                <c:pt idx="742">
                  <c:v>41534</c:v>
                </c:pt>
                <c:pt idx="743">
                  <c:v>41535</c:v>
                </c:pt>
                <c:pt idx="744">
                  <c:v>41536</c:v>
                </c:pt>
                <c:pt idx="745">
                  <c:v>41537</c:v>
                </c:pt>
                <c:pt idx="746">
                  <c:v>41540</c:v>
                </c:pt>
                <c:pt idx="747">
                  <c:v>41541</c:v>
                </c:pt>
                <c:pt idx="748">
                  <c:v>41542</c:v>
                </c:pt>
                <c:pt idx="749">
                  <c:v>41543</c:v>
                </c:pt>
                <c:pt idx="750">
                  <c:v>41544</c:v>
                </c:pt>
                <c:pt idx="751">
                  <c:v>41547</c:v>
                </c:pt>
                <c:pt idx="752">
                  <c:v>41548</c:v>
                </c:pt>
                <c:pt idx="753">
                  <c:v>41549</c:v>
                </c:pt>
                <c:pt idx="754">
                  <c:v>41550</c:v>
                </c:pt>
                <c:pt idx="755">
                  <c:v>41551</c:v>
                </c:pt>
                <c:pt idx="756">
                  <c:v>41554</c:v>
                </c:pt>
                <c:pt idx="757">
                  <c:v>41555</c:v>
                </c:pt>
                <c:pt idx="758">
                  <c:v>41556</c:v>
                </c:pt>
                <c:pt idx="759">
                  <c:v>41557</c:v>
                </c:pt>
                <c:pt idx="760">
                  <c:v>41558</c:v>
                </c:pt>
                <c:pt idx="761">
                  <c:v>41561</c:v>
                </c:pt>
                <c:pt idx="762">
                  <c:v>41562</c:v>
                </c:pt>
                <c:pt idx="763">
                  <c:v>41563</c:v>
                </c:pt>
                <c:pt idx="764">
                  <c:v>41564</c:v>
                </c:pt>
                <c:pt idx="765">
                  <c:v>41565</c:v>
                </c:pt>
                <c:pt idx="766">
                  <c:v>41568</c:v>
                </c:pt>
                <c:pt idx="767">
                  <c:v>41569</c:v>
                </c:pt>
                <c:pt idx="768">
                  <c:v>41570</c:v>
                </c:pt>
                <c:pt idx="769">
                  <c:v>41571</c:v>
                </c:pt>
                <c:pt idx="770">
                  <c:v>41572</c:v>
                </c:pt>
                <c:pt idx="771">
                  <c:v>41575</c:v>
                </c:pt>
                <c:pt idx="772">
                  <c:v>41576</c:v>
                </c:pt>
                <c:pt idx="773">
                  <c:v>41577</c:v>
                </c:pt>
                <c:pt idx="774">
                  <c:v>41578</c:v>
                </c:pt>
                <c:pt idx="775">
                  <c:v>41579</c:v>
                </c:pt>
                <c:pt idx="776">
                  <c:v>41582</c:v>
                </c:pt>
                <c:pt idx="777">
                  <c:v>41583</c:v>
                </c:pt>
                <c:pt idx="778">
                  <c:v>41584</c:v>
                </c:pt>
                <c:pt idx="779">
                  <c:v>41585</c:v>
                </c:pt>
                <c:pt idx="780">
                  <c:v>41586</c:v>
                </c:pt>
                <c:pt idx="781">
                  <c:v>41589</c:v>
                </c:pt>
                <c:pt idx="782">
                  <c:v>41590</c:v>
                </c:pt>
                <c:pt idx="783">
                  <c:v>41591</c:v>
                </c:pt>
                <c:pt idx="784">
                  <c:v>41592</c:v>
                </c:pt>
                <c:pt idx="785">
                  <c:v>41593</c:v>
                </c:pt>
                <c:pt idx="786">
                  <c:v>41596</c:v>
                </c:pt>
                <c:pt idx="787">
                  <c:v>41597</c:v>
                </c:pt>
                <c:pt idx="788">
                  <c:v>41598</c:v>
                </c:pt>
                <c:pt idx="789">
                  <c:v>41599</c:v>
                </c:pt>
                <c:pt idx="790">
                  <c:v>41600</c:v>
                </c:pt>
                <c:pt idx="791">
                  <c:v>41603</c:v>
                </c:pt>
                <c:pt idx="792">
                  <c:v>41604</c:v>
                </c:pt>
                <c:pt idx="793">
                  <c:v>41605</c:v>
                </c:pt>
                <c:pt idx="794">
                  <c:v>41606</c:v>
                </c:pt>
                <c:pt idx="795">
                  <c:v>41607</c:v>
                </c:pt>
                <c:pt idx="796">
                  <c:v>41610</c:v>
                </c:pt>
                <c:pt idx="797">
                  <c:v>41611</c:v>
                </c:pt>
                <c:pt idx="798">
                  <c:v>41612</c:v>
                </c:pt>
                <c:pt idx="799">
                  <c:v>41613</c:v>
                </c:pt>
                <c:pt idx="800">
                  <c:v>41614</c:v>
                </c:pt>
                <c:pt idx="801">
                  <c:v>41617</c:v>
                </c:pt>
                <c:pt idx="802">
                  <c:v>41618</c:v>
                </c:pt>
                <c:pt idx="803">
                  <c:v>41619</c:v>
                </c:pt>
                <c:pt idx="804">
                  <c:v>41620</c:v>
                </c:pt>
                <c:pt idx="805">
                  <c:v>41621</c:v>
                </c:pt>
                <c:pt idx="806">
                  <c:v>41624</c:v>
                </c:pt>
                <c:pt idx="807">
                  <c:v>41625</c:v>
                </c:pt>
                <c:pt idx="808">
                  <c:v>41626</c:v>
                </c:pt>
                <c:pt idx="809">
                  <c:v>41627</c:v>
                </c:pt>
                <c:pt idx="810">
                  <c:v>41628</c:v>
                </c:pt>
                <c:pt idx="811">
                  <c:v>41631</c:v>
                </c:pt>
                <c:pt idx="812">
                  <c:v>41632</c:v>
                </c:pt>
                <c:pt idx="813">
                  <c:v>41635</c:v>
                </c:pt>
                <c:pt idx="814">
                  <c:v>41638</c:v>
                </c:pt>
                <c:pt idx="815">
                  <c:v>41639</c:v>
                </c:pt>
                <c:pt idx="816">
                  <c:v>41641</c:v>
                </c:pt>
                <c:pt idx="817">
                  <c:v>41642</c:v>
                </c:pt>
                <c:pt idx="818">
                  <c:v>41645</c:v>
                </c:pt>
                <c:pt idx="819">
                  <c:v>41646</c:v>
                </c:pt>
                <c:pt idx="820">
                  <c:v>41647</c:v>
                </c:pt>
                <c:pt idx="821">
                  <c:v>41648</c:v>
                </c:pt>
                <c:pt idx="822">
                  <c:v>41649</c:v>
                </c:pt>
                <c:pt idx="823">
                  <c:v>41652</c:v>
                </c:pt>
                <c:pt idx="824">
                  <c:v>41653</c:v>
                </c:pt>
                <c:pt idx="825">
                  <c:v>41654</c:v>
                </c:pt>
                <c:pt idx="826">
                  <c:v>41655</c:v>
                </c:pt>
                <c:pt idx="827">
                  <c:v>41656</c:v>
                </c:pt>
                <c:pt idx="828">
                  <c:v>41659</c:v>
                </c:pt>
                <c:pt idx="829">
                  <c:v>41660</c:v>
                </c:pt>
                <c:pt idx="830">
                  <c:v>41661</c:v>
                </c:pt>
                <c:pt idx="831">
                  <c:v>41662</c:v>
                </c:pt>
                <c:pt idx="832">
                  <c:v>41663</c:v>
                </c:pt>
                <c:pt idx="833">
                  <c:v>41666</c:v>
                </c:pt>
                <c:pt idx="834">
                  <c:v>41667</c:v>
                </c:pt>
                <c:pt idx="835">
                  <c:v>41668</c:v>
                </c:pt>
                <c:pt idx="836">
                  <c:v>41669</c:v>
                </c:pt>
                <c:pt idx="837">
                  <c:v>41670</c:v>
                </c:pt>
                <c:pt idx="838">
                  <c:v>41673</c:v>
                </c:pt>
                <c:pt idx="839">
                  <c:v>41674</c:v>
                </c:pt>
                <c:pt idx="840">
                  <c:v>41675</c:v>
                </c:pt>
                <c:pt idx="841">
                  <c:v>41676</c:v>
                </c:pt>
                <c:pt idx="842">
                  <c:v>41677</c:v>
                </c:pt>
                <c:pt idx="843">
                  <c:v>41680</c:v>
                </c:pt>
                <c:pt idx="844">
                  <c:v>41681</c:v>
                </c:pt>
                <c:pt idx="845">
                  <c:v>41682</c:v>
                </c:pt>
                <c:pt idx="846">
                  <c:v>41683</c:v>
                </c:pt>
                <c:pt idx="847">
                  <c:v>41684</c:v>
                </c:pt>
                <c:pt idx="848">
                  <c:v>41687</c:v>
                </c:pt>
                <c:pt idx="849">
                  <c:v>41688</c:v>
                </c:pt>
                <c:pt idx="850">
                  <c:v>41689</c:v>
                </c:pt>
                <c:pt idx="851">
                  <c:v>41690</c:v>
                </c:pt>
                <c:pt idx="852">
                  <c:v>41691</c:v>
                </c:pt>
                <c:pt idx="853">
                  <c:v>41694</c:v>
                </c:pt>
                <c:pt idx="854">
                  <c:v>41695</c:v>
                </c:pt>
                <c:pt idx="855">
                  <c:v>41696</c:v>
                </c:pt>
                <c:pt idx="856">
                  <c:v>41697</c:v>
                </c:pt>
                <c:pt idx="857">
                  <c:v>41698</c:v>
                </c:pt>
                <c:pt idx="858">
                  <c:v>41701</c:v>
                </c:pt>
                <c:pt idx="859">
                  <c:v>41702</c:v>
                </c:pt>
                <c:pt idx="860">
                  <c:v>41703</c:v>
                </c:pt>
                <c:pt idx="861">
                  <c:v>41704</c:v>
                </c:pt>
                <c:pt idx="862">
                  <c:v>41705</c:v>
                </c:pt>
                <c:pt idx="863">
                  <c:v>41708</c:v>
                </c:pt>
                <c:pt idx="864">
                  <c:v>41709</c:v>
                </c:pt>
                <c:pt idx="865">
                  <c:v>41710</c:v>
                </c:pt>
                <c:pt idx="866">
                  <c:v>41711</c:v>
                </c:pt>
                <c:pt idx="867">
                  <c:v>41712</c:v>
                </c:pt>
                <c:pt idx="868">
                  <c:v>41715</c:v>
                </c:pt>
                <c:pt idx="869">
                  <c:v>41716</c:v>
                </c:pt>
                <c:pt idx="870">
                  <c:v>41717</c:v>
                </c:pt>
                <c:pt idx="871">
                  <c:v>41718</c:v>
                </c:pt>
                <c:pt idx="872">
                  <c:v>41719</c:v>
                </c:pt>
                <c:pt idx="873">
                  <c:v>41722</c:v>
                </c:pt>
                <c:pt idx="874">
                  <c:v>41723</c:v>
                </c:pt>
                <c:pt idx="875">
                  <c:v>41724</c:v>
                </c:pt>
                <c:pt idx="876">
                  <c:v>41725</c:v>
                </c:pt>
                <c:pt idx="877">
                  <c:v>41726</c:v>
                </c:pt>
                <c:pt idx="878">
                  <c:v>41729</c:v>
                </c:pt>
                <c:pt idx="879">
                  <c:v>41730</c:v>
                </c:pt>
                <c:pt idx="880">
                  <c:v>41731</c:v>
                </c:pt>
                <c:pt idx="881">
                  <c:v>41732</c:v>
                </c:pt>
                <c:pt idx="882">
                  <c:v>41733</c:v>
                </c:pt>
                <c:pt idx="883">
                  <c:v>41736</c:v>
                </c:pt>
                <c:pt idx="884">
                  <c:v>41737</c:v>
                </c:pt>
                <c:pt idx="885">
                  <c:v>41738</c:v>
                </c:pt>
                <c:pt idx="886">
                  <c:v>41739</c:v>
                </c:pt>
                <c:pt idx="887">
                  <c:v>41740</c:v>
                </c:pt>
                <c:pt idx="888">
                  <c:v>41743</c:v>
                </c:pt>
                <c:pt idx="889">
                  <c:v>41744</c:v>
                </c:pt>
                <c:pt idx="890">
                  <c:v>41745</c:v>
                </c:pt>
                <c:pt idx="891">
                  <c:v>41746</c:v>
                </c:pt>
                <c:pt idx="892">
                  <c:v>41751</c:v>
                </c:pt>
                <c:pt idx="893">
                  <c:v>41752</c:v>
                </c:pt>
                <c:pt idx="894">
                  <c:v>41753</c:v>
                </c:pt>
                <c:pt idx="895">
                  <c:v>41754</c:v>
                </c:pt>
                <c:pt idx="896">
                  <c:v>41757</c:v>
                </c:pt>
                <c:pt idx="897">
                  <c:v>41758</c:v>
                </c:pt>
                <c:pt idx="898">
                  <c:v>41759</c:v>
                </c:pt>
                <c:pt idx="899">
                  <c:v>41760</c:v>
                </c:pt>
                <c:pt idx="900">
                  <c:v>41761</c:v>
                </c:pt>
                <c:pt idx="901">
                  <c:v>41764</c:v>
                </c:pt>
                <c:pt idx="902">
                  <c:v>41765</c:v>
                </c:pt>
                <c:pt idx="903">
                  <c:v>41766</c:v>
                </c:pt>
                <c:pt idx="904">
                  <c:v>41767</c:v>
                </c:pt>
                <c:pt idx="905">
                  <c:v>41768</c:v>
                </c:pt>
                <c:pt idx="906">
                  <c:v>41771</c:v>
                </c:pt>
                <c:pt idx="907">
                  <c:v>41772</c:v>
                </c:pt>
                <c:pt idx="908">
                  <c:v>41773</c:v>
                </c:pt>
                <c:pt idx="909">
                  <c:v>41774</c:v>
                </c:pt>
                <c:pt idx="910">
                  <c:v>41775</c:v>
                </c:pt>
                <c:pt idx="911">
                  <c:v>41778</c:v>
                </c:pt>
                <c:pt idx="912">
                  <c:v>41779</c:v>
                </c:pt>
                <c:pt idx="913">
                  <c:v>41780</c:v>
                </c:pt>
                <c:pt idx="914">
                  <c:v>41781</c:v>
                </c:pt>
                <c:pt idx="915">
                  <c:v>41782</c:v>
                </c:pt>
                <c:pt idx="916">
                  <c:v>41785</c:v>
                </c:pt>
                <c:pt idx="917">
                  <c:v>41786</c:v>
                </c:pt>
                <c:pt idx="918">
                  <c:v>41787</c:v>
                </c:pt>
                <c:pt idx="919">
                  <c:v>41788</c:v>
                </c:pt>
                <c:pt idx="920">
                  <c:v>41789</c:v>
                </c:pt>
                <c:pt idx="921">
                  <c:v>41792</c:v>
                </c:pt>
                <c:pt idx="922">
                  <c:v>41793</c:v>
                </c:pt>
                <c:pt idx="923">
                  <c:v>41794</c:v>
                </c:pt>
                <c:pt idx="924">
                  <c:v>41795</c:v>
                </c:pt>
                <c:pt idx="925">
                  <c:v>41796</c:v>
                </c:pt>
                <c:pt idx="926">
                  <c:v>41799</c:v>
                </c:pt>
                <c:pt idx="927">
                  <c:v>41800</c:v>
                </c:pt>
                <c:pt idx="928">
                  <c:v>41801</c:v>
                </c:pt>
                <c:pt idx="929">
                  <c:v>41802</c:v>
                </c:pt>
                <c:pt idx="930">
                  <c:v>41803</c:v>
                </c:pt>
                <c:pt idx="931">
                  <c:v>41806</c:v>
                </c:pt>
                <c:pt idx="932">
                  <c:v>41807</c:v>
                </c:pt>
                <c:pt idx="933">
                  <c:v>41808</c:v>
                </c:pt>
                <c:pt idx="934">
                  <c:v>41809</c:v>
                </c:pt>
                <c:pt idx="935">
                  <c:v>41810</c:v>
                </c:pt>
                <c:pt idx="936">
                  <c:v>41813</c:v>
                </c:pt>
                <c:pt idx="937">
                  <c:v>41814</c:v>
                </c:pt>
                <c:pt idx="938">
                  <c:v>41815</c:v>
                </c:pt>
                <c:pt idx="939">
                  <c:v>41816</c:v>
                </c:pt>
                <c:pt idx="940">
                  <c:v>41817</c:v>
                </c:pt>
                <c:pt idx="941">
                  <c:v>41820</c:v>
                </c:pt>
                <c:pt idx="942">
                  <c:v>41821</c:v>
                </c:pt>
                <c:pt idx="943">
                  <c:v>41822</c:v>
                </c:pt>
                <c:pt idx="944">
                  <c:v>41823</c:v>
                </c:pt>
                <c:pt idx="945">
                  <c:v>41824</c:v>
                </c:pt>
                <c:pt idx="946">
                  <c:v>41827</c:v>
                </c:pt>
                <c:pt idx="947">
                  <c:v>41828</c:v>
                </c:pt>
                <c:pt idx="948">
                  <c:v>41829</c:v>
                </c:pt>
                <c:pt idx="949">
                  <c:v>41830</c:v>
                </c:pt>
                <c:pt idx="950">
                  <c:v>41831</c:v>
                </c:pt>
                <c:pt idx="951">
                  <c:v>41834</c:v>
                </c:pt>
                <c:pt idx="952">
                  <c:v>41835</c:v>
                </c:pt>
                <c:pt idx="953">
                  <c:v>41836</c:v>
                </c:pt>
                <c:pt idx="954">
                  <c:v>41837</c:v>
                </c:pt>
                <c:pt idx="955">
                  <c:v>41838</c:v>
                </c:pt>
                <c:pt idx="956">
                  <c:v>41841</c:v>
                </c:pt>
                <c:pt idx="957">
                  <c:v>41842</c:v>
                </c:pt>
                <c:pt idx="958">
                  <c:v>41843</c:v>
                </c:pt>
                <c:pt idx="959">
                  <c:v>41844</c:v>
                </c:pt>
                <c:pt idx="960">
                  <c:v>41845</c:v>
                </c:pt>
                <c:pt idx="961">
                  <c:v>41848</c:v>
                </c:pt>
                <c:pt idx="962">
                  <c:v>41849</c:v>
                </c:pt>
                <c:pt idx="963">
                  <c:v>41850</c:v>
                </c:pt>
                <c:pt idx="964">
                  <c:v>41851</c:v>
                </c:pt>
                <c:pt idx="965">
                  <c:v>41852</c:v>
                </c:pt>
                <c:pt idx="966">
                  <c:v>41855</c:v>
                </c:pt>
                <c:pt idx="967">
                  <c:v>41856</c:v>
                </c:pt>
                <c:pt idx="968">
                  <c:v>41857</c:v>
                </c:pt>
                <c:pt idx="969">
                  <c:v>41858</c:v>
                </c:pt>
                <c:pt idx="970">
                  <c:v>41859</c:v>
                </c:pt>
                <c:pt idx="971">
                  <c:v>41862</c:v>
                </c:pt>
                <c:pt idx="972">
                  <c:v>41863</c:v>
                </c:pt>
                <c:pt idx="973">
                  <c:v>41864</c:v>
                </c:pt>
                <c:pt idx="974">
                  <c:v>41865</c:v>
                </c:pt>
                <c:pt idx="975">
                  <c:v>41866</c:v>
                </c:pt>
                <c:pt idx="976">
                  <c:v>41869</c:v>
                </c:pt>
                <c:pt idx="977">
                  <c:v>41870</c:v>
                </c:pt>
                <c:pt idx="978">
                  <c:v>41871</c:v>
                </c:pt>
                <c:pt idx="979">
                  <c:v>41872</c:v>
                </c:pt>
                <c:pt idx="980">
                  <c:v>41873</c:v>
                </c:pt>
                <c:pt idx="981">
                  <c:v>41876</c:v>
                </c:pt>
                <c:pt idx="982">
                  <c:v>41877</c:v>
                </c:pt>
                <c:pt idx="983">
                  <c:v>41878</c:v>
                </c:pt>
                <c:pt idx="984">
                  <c:v>41879</c:v>
                </c:pt>
                <c:pt idx="985">
                  <c:v>41880</c:v>
                </c:pt>
                <c:pt idx="986">
                  <c:v>41883</c:v>
                </c:pt>
                <c:pt idx="987">
                  <c:v>41884</c:v>
                </c:pt>
                <c:pt idx="988">
                  <c:v>41885</c:v>
                </c:pt>
                <c:pt idx="989">
                  <c:v>41886</c:v>
                </c:pt>
                <c:pt idx="990">
                  <c:v>41887</c:v>
                </c:pt>
                <c:pt idx="991">
                  <c:v>41890</c:v>
                </c:pt>
                <c:pt idx="992">
                  <c:v>41891</c:v>
                </c:pt>
                <c:pt idx="993">
                  <c:v>41892</c:v>
                </c:pt>
                <c:pt idx="994">
                  <c:v>41893</c:v>
                </c:pt>
                <c:pt idx="995">
                  <c:v>41894</c:v>
                </c:pt>
                <c:pt idx="996">
                  <c:v>41897</c:v>
                </c:pt>
                <c:pt idx="997">
                  <c:v>41898</c:v>
                </c:pt>
                <c:pt idx="998">
                  <c:v>41899</c:v>
                </c:pt>
                <c:pt idx="999">
                  <c:v>41900</c:v>
                </c:pt>
                <c:pt idx="1000">
                  <c:v>41901</c:v>
                </c:pt>
                <c:pt idx="1001">
                  <c:v>41904</c:v>
                </c:pt>
                <c:pt idx="1002">
                  <c:v>41905</c:v>
                </c:pt>
                <c:pt idx="1003">
                  <c:v>41906</c:v>
                </c:pt>
                <c:pt idx="1004">
                  <c:v>41907</c:v>
                </c:pt>
                <c:pt idx="1005">
                  <c:v>41908</c:v>
                </c:pt>
                <c:pt idx="1006">
                  <c:v>41911</c:v>
                </c:pt>
                <c:pt idx="1007">
                  <c:v>41912</c:v>
                </c:pt>
                <c:pt idx="1008">
                  <c:v>41913</c:v>
                </c:pt>
                <c:pt idx="1009">
                  <c:v>41914</c:v>
                </c:pt>
                <c:pt idx="1010">
                  <c:v>41915</c:v>
                </c:pt>
                <c:pt idx="1011">
                  <c:v>41918</c:v>
                </c:pt>
                <c:pt idx="1012">
                  <c:v>41919</c:v>
                </c:pt>
                <c:pt idx="1013">
                  <c:v>41920</c:v>
                </c:pt>
                <c:pt idx="1014">
                  <c:v>41921</c:v>
                </c:pt>
                <c:pt idx="1015">
                  <c:v>41922</c:v>
                </c:pt>
                <c:pt idx="1016">
                  <c:v>41925</c:v>
                </c:pt>
                <c:pt idx="1017">
                  <c:v>41926</c:v>
                </c:pt>
                <c:pt idx="1018">
                  <c:v>41927</c:v>
                </c:pt>
                <c:pt idx="1019">
                  <c:v>41928</c:v>
                </c:pt>
                <c:pt idx="1020">
                  <c:v>41929</c:v>
                </c:pt>
                <c:pt idx="1021">
                  <c:v>41932</c:v>
                </c:pt>
                <c:pt idx="1022">
                  <c:v>41933</c:v>
                </c:pt>
                <c:pt idx="1023">
                  <c:v>41934</c:v>
                </c:pt>
                <c:pt idx="1024">
                  <c:v>41935</c:v>
                </c:pt>
                <c:pt idx="1025">
                  <c:v>41936</c:v>
                </c:pt>
                <c:pt idx="1026">
                  <c:v>41939</c:v>
                </c:pt>
                <c:pt idx="1027">
                  <c:v>41940</c:v>
                </c:pt>
                <c:pt idx="1028">
                  <c:v>41941</c:v>
                </c:pt>
                <c:pt idx="1029">
                  <c:v>41942</c:v>
                </c:pt>
                <c:pt idx="1030">
                  <c:v>41943</c:v>
                </c:pt>
                <c:pt idx="1031">
                  <c:v>41946</c:v>
                </c:pt>
                <c:pt idx="1032">
                  <c:v>41947</c:v>
                </c:pt>
                <c:pt idx="1033">
                  <c:v>41948</c:v>
                </c:pt>
                <c:pt idx="1034">
                  <c:v>41949</c:v>
                </c:pt>
                <c:pt idx="1035">
                  <c:v>41950</c:v>
                </c:pt>
                <c:pt idx="1036">
                  <c:v>41953</c:v>
                </c:pt>
                <c:pt idx="1037">
                  <c:v>41954</c:v>
                </c:pt>
                <c:pt idx="1038">
                  <c:v>41955</c:v>
                </c:pt>
                <c:pt idx="1039">
                  <c:v>41956</c:v>
                </c:pt>
                <c:pt idx="1040">
                  <c:v>41957</c:v>
                </c:pt>
                <c:pt idx="1041">
                  <c:v>41960</c:v>
                </c:pt>
                <c:pt idx="1042">
                  <c:v>41961</c:v>
                </c:pt>
                <c:pt idx="1043">
                  <c:v>41962</c:v>
                </c:pt>
                <c:pt idx="1044">
                  <c:v>41963</c:v>
                </c:pt>
                <c:pt idx="1045">
                  <c:v>41964</c:v>
                </c:pt>
                <c:pt idx="1046">
                  <c:v>41967</c:v>
                </c:pt>
                <c:pt idx="1047">
                  <c:v>41968</c:v>
                </c:pt>
                <c:pt idx="1048">
                  <c:v>41969</c:v>
                </c:pt>
                <c:pt idx="1049">
                  <c:v>41970</c:v>
                </c:pt>
                <c:pt idx="1050">
                  <c:v>41971</c:v>
                </c:pt>
                <c:pt idx="1051">
                  <c:v>41974</c:v>
                </c:pt>
                <c:pt idx="1052">
                  <c:v>41975</c:v>
                </c:pt>
                <c:pt idx="1053">
                  <c:v>41976</c:v>
                </c:pt>
                <c:pt idx="1054">
                  <c:v>41977</c:v>
                </c:pt>
                <c:pt idx="1055">
                  <c:v>41978</c:v>
                </c:pt>
                <c:pt idx="1056">
                  <c:v>41981</c:v>
                </c:pt>
                <c:pt idx="1057">
                  <c:v>41982</c:v>
                </c:pt>
                <c:pt idx="1058">
                  <c:v>41983</c:v>
                </c:pt>
                <c:pt idx="1059">
                  <c:v>41984</c:v>
                </c:pt>
                <c:pt idx="1060">
                  <c:v>41985</c:v>
                </c:pt>
                <c:pt idx="1061">
                  <c:v>41988</c:v>
                </c:pt>
                <c:pt idx="1062">
                  <c:v>41989</c:v>
                </c:pt>
                <c:pt idx="1063">
                  <c:v>41990</c:v>
                </c:pt>
                <c:pt idx="1064">
                  <c:v>41991</c:v>
                </c:pt>
                <c:pt idx="1065">
                  <c:v>41992</c:v>
                </c:pt>
                <c:pt idx="1066">
                  <c:v>41995</c:v>
                </c:pt>
                <c:pt idx="1067">
                  <c:v>41996</c:v>
                </c:pt>
                <c:pt idx="1068">
                  <c:v>41997</c:v>
                </c:pt>
                <c:pt idx="1069">
                  <c:v>42002</c:v>
                </c:pt>
                <c:pt idx="1070">
                  <c:v>42003</c:v>
                </c:pt>
                <c:pt idx="1071">
                  <c:v>42004</c:v>
                </c:pt>
                <c:pt idx="1072">
                  <c:v>42006</c:v>
                </c:pt>
                <c:pt idx="1073">
                  <c:v>42009</c:v>
                </c:pt>
                <c:pt idx="1074">
                  <c:v>42010</c:v>
                </c:pt>
                <c:pt idx="1075">
                  <c:v>42011</c:v>
                </c:pt>
                <c:pt idx="1076">
                  <c:v>42012</c:v>
                </c:pt>
                <c:pt idx="1077">
                  <c:v>42013</c:v>
                </c:pt>
                <c:pt idx="1078">
                  <c:v>42016</c:v>
                </c:pt>
                <c:pt idx="1079">
                  <c:v>42017</c:v>
                </c:pt>
                <c:pt idx="1080">
                  <c:v>42018</c:v>
                </c:pt>
                <c:pt idx="1081">
                  <c:v>42019</c:v>
                </c:pt>
                <c:pt idx="1082">
                  <c:v>42020</c:v>
                </c:pt>
                <c:pt idx="1083">
                  <c:v>42023</c:v>
                </c:pt>
                <c:pt idx="1084">
                  <c:v>42024</c:v>
                </c:pt>
                <c:pt idx="1085">
                  <c:v>42025</c:v>
                </c:pt>
                <c:pt idx="1086">
                  <c:v>42026</c:v>
                </c:pt>
                <c:pt idx="1087">
                  <c:v>42027</c:v>
                </c:pt>
                <c:pt idx="1088">
                  <c:v>42030</c:v>
                </c:pt>
                <c:pt idx="1089">
                  <c:v>42031</c:v>
                </c:pt>
                <c:pt idx="1090">
                  <c:v>42032</c:v>
                </c:pt>
                <c:pt idx="1091">
                  <c:v>42033</c:v>
                </c:pt>
                <c:pt idx="1092">
                  <c:v>42034</c:v>
                </c:pt>
                <c:pt idx="1093">
                  <c:v>42037</c:v>
                </c:pt>
                <c:pt idx="1094">
                  <c:v>42038</c:v>
                </c:pt>
                <c:pt idx="1095">
                  <c:v>42039</c:v>
                </c:pt>
                <c:pt idx="1096">
                  <c:v>42040</c:v>
                </c:pt>
                <c:pt idx="1097">
                  <c:v>42041</c:v>
                </c:pt>
                <c:pt idx="1098">
                  <c:v>42044</c:v>
                </c:pt>
                <c:pt idx="1099">
                  <c:v>42045</c:v>
                </c:pt>
                <c:pt idx="1100">
                  <c:v>42046</c:v>
                </c:pt>
                <c:pt idx="1101">
                  <c:v>42047</c:v>
                </c:pt>
                <c:pt idx="1102">
                  <c:v>42048</c:v>
                </c:pt>
                <c:pt idx="1103">
                  <c:v>42051</c:v>
                </c:pt>
                <c:pt idx="1104">
                  <c:v>42052</c:v>
                </c:pt>
                <c:pt idx="1105">
                  <c:v>42053</c:v>
                </c:pt>
                <c:pt idx="1106">
                  <c:v>42054</c:v>
                </c:pt>
                <c:pt idx="1107">
                  <c:v>42055</c:v>
                </c:pt>
                <c:pt idx="1108">
                  <c:v>42058</c:v>
                </c:pt>
                <c:pt idx="1109">
                  <c:v>42059</c:v>
                </c:pt>
                <c:pt idx="1110">
                  <c:v>42060</c:v>
                </c:pt>
                <c:pt idx="1111">
                  <c:v>42061</c:v>
                </c:pt>
                <c:pt idx="1112">
                  <c:v>42062</c:v>
                </c:pt>
                <c:pt idx="1113">
                  <c:v>42065</c:v>
                </c:pt>
                <c:pt idx="1114">
                  <c:v>42066</c:v>
                </c:pt>
                <c:pt idx="1115">
                  <c:v>42067</c:v>
                </c:pt>
                <c:pt idx="1116">
                  <c:v>42068</c:v>
                </c:pt>
                <c:pt idx="1117">
                  <c:v>42069</c:v>
                </c:pt>
                <c:pt idx="1118">
                  <c:v>42072</c:v>
                </c:pt>
                <c:pt idx="1119">
                  <c:v>42073</c:v>
                </c:pt>
                <c:pt idx="1120">
                  <c:v>42074</c:v>
                </c:pt>
                <c:pt idx="1121">
                  <c:v>42075</c:v>
                </c:pt>
                <c:pt idx="1122">
                  <c:v>42076</c:v>
                </c:pt>
                <c:pt idx="1123">
                  <c:v>42079</c:v>
                </c:pt>
                <c:pt idx="1124">
                  <c:v>42080</c:v>
                </c:pt>
                <c:pt idx="1125">
                  <c:v>42081</c:v>
                </c:pt>
                <c:pt idx="1126">
                  <c:v>42082</c:v>
                </c:pt>
                <c:pt idx="1127">
                  <c:v>42083</c:v>
                </c:pt>
                <c:pt idx="1128">
                  <c:v>42086</c:v>
                </c:pt>
                <c:pt idx="1129">
                  <c:v>42087</c:v>
                </c:pt>
                <c:pt idx="1130">
                  <c:v>42088</c:v>
                </c:pt>
                <c:pt idx="1131">
                  <c:v>42089</c:v>
                </c:pt>
                <c:pt idx="1132">
                  <c:v>42090</c:v>
                </c:pt>
                <c:pt idx="1133">
                  <c:v>42093</c:v>
                </c:pt>
                <c:pt idx="1134">
                  <c:v>42094</c:v>
                </c:pt>
                <c:pt idx="1135">
                  <c:v>42095</c:v>
                </c:pt>
                <c:pt idx="1136">
                  <c:v>42096</c:v>
                </c:pt>
                <c:pt idx="1137">
                  <c:v>42101</c:v>
                </c:pt>
                <c:pt idx="1138">
                  <c:v>42102</c:v>
                </c:pt>
                <c:pt idx="1139">
                  <c:v>42103</c:v>
                </c:pt>
                <c:pt idx="1140">
                  <c:v>42104</c:v>
                </c:pt>
                <c:pt idx="1141">
                  <c:v>42107</c:v>
                </c:pt>
                <c:pt idx="1142">
                  <c:v>42108</c:v>
                </c:pt>
                <c:pt idx="1143">
                  <c:v>42109</c:v>
                </c:pt>
                <c:pt idx="1144">
                  <c:v>42110</c:v>
                </c:pt>
                <c:pt idx="1145">
                  <c:v>42111</c:v>
                </c:pt>
                <c:pt idx="1146">
                  <c:v>42114</c:v>
                </c:pt>
                <c:pt idx="1147">
                  <c:v>42115</c:v>
                </c:pt>
                <c:pt idx="1148">
                  <c:v>42116</c:v>
                </c:pt>
                <c:pt idx="1149">
                  <c:v>42117</c:v>
                </c:pt>
                <c:pt idx="1150">
                  <c:v>42118</c:v>
                </c:pt>
                <c:pt idx="1151">
                  <c:v>42121</c:v>
                </c:pt>
                <c:pt idx="1152">
                  <c:v>42122</c:v>
                </c:pt>
                <c:pt idx="1153">
                  <c:v>42123</c:v>
                </c:pt>
                <c:pt idx="1154">
                  <c:v>42124</c:v>
                </c:pt>
                <c:pt idx="1155">
                  <c:v>42125</c:v>
                </c:pt>
                <c:pt idx="1156">
                  <c:v>42128</c:v>
                </c:pt>
                <c:pt idx="1157">
                  <c:v>42129</c:v>
                </c:pt>
                <c:pt idx="1158">
                  <c:v>42130</c:v>
                </c:pt>
                <c:pt idx="1159">
                  <c:v>42131</c:v>
                </c:pt>
                <c:pt idx="1160">
                  <c:v>42132</c:v>
                </c:pt>
                <c:pt idx="1161">
                  <c:v>42135</c:v>
                </c:pt>
                <c:pt idx="1162">
                  <c:v>42136</c:v>
                </c:pt>
                <c:pt idx="1163">
                  <c:v>42137</c:v>
                </c:pt>
                <c:pt idx="1164">
                  <c:v>42138</c:v>
                </c:pt>
                <c:pt idx="1165">
                  <c:v>42139</c:v>
                </c:pt>
                <c:pt idx="1166">
                  <c:v>42142</c:v>
                </c:pt>
                <c:pt idx="1167">
                  <c:v>42143</c:v>
                </c:pt>
                <c:pt idx="1168">
                  <c:v>42144</c:v>
                </c:pt>
                <c:pt idx="1169">
                  <c:v>42145</c:v>
                </c:pt>
                <c:pt idx="1170">
                  <c:v>42146</c:v>
                </c:pt>
                <c:pt idx="1171">
                  <c:v>42149</c:v>
                </c:pt>
                <c:pt idx="1172">
                  <c:v>42150</c:v>
                </c:pt>
                <c:pt idx="1173">
                  <c:v>42151</c:v>
                </c:pt>
                <c:pt idx="1174">
                  <c:v>42152</c:v>
                </c:pt>
                <c:pt idx="1175">
                  <c:v>42153</c:v>
                </c:pt>
                <c:pt idx="1176">
                  <c:v>42156</c:v>
                </c:pt>
                <c:pt idx="1177">
                  <c:v>42157</c:v>
                </c:pt>
                <c:pt idx="1178">
                  <c:v>42158</c:v>
                </c:pt>
                <c:pt idx="1179">
                  <c:v>42159</c:v>
                </c:pt>
                <c:pt idx="1180">
                  <c:v>42160</c:v>
                </c:pt>
                <c:pt idx="1181">
                  <c:v>42163</c:v>
                </c:pt>
                <c:pt idx="1182">
                  <c:v>42164</c:v>
                </c:pt>
                <c:pt idx="1183">
                  <c:v>42165</c:v>
                </c:pt>
                <c:pt idx="1184">
                  <c:v>42166</c:v>
                </c:pt>
                <c:pt idx="1185">
                  <c:v>42167</c:v>
                </c:pt>
                <c:pt idx="1186">
                  <c:v>42170</c:v>
                </c:pt>
                <c:pt idx="1187">
                  <c:v>42171</c:v>
                </c:pt>
                <c:pt idx="1188">
                  <c:v>42172</c:v>
                </c:pt>
                <c:pt idx="1189">
                  <c:v>42173</c:v>
                </c:pt>
                <c:pt idx="1190">
                  <c:v>42174</c:v>
                </c:pt>
                <c:pt idx="1191">
                  <c:v>42177</c:v>
                </c:pt>
                <c:pt idx="1192">
                  <c:v>42178</c:v>
                </c:pt>
                <c:pt idx="1193">
                  <c:v>42179</c:v>
                </c:pt>
                <c:pt idx="1194">
                  <c:v>42180</c:v>
                </c:pt>
                <c:pt idx="1195">
                  <c:v>42181</c:v>
                </c:pt>
                <c:pt idx="1196">
                  <c:v>42184</c:v>
                </c:pt>
                <c:pt idx="1197">
                  <c:v>42185</c:v>
                </c:pt>
                <c:pt idx="1198">
                  <c:v>42186</c:v>
                </c:pt>
                <c:pt idx="1199">
                  <c:v>42187</c:v>
                </c:pt>
                <c:pt idx="1200">
                  <c:v>42188</c:v>
                </c:pt>
                <c:pt idx="1201">
                  <c:v>42191</c:v>
                </c:pt>
                <c:pt idx="1202">
                  <c:v>42192</c:v>
                </c:pt>
                <c:pt idx="1203">
                  <c:v>42193</c:v>
                </c:pt>
                <c:pt idx="1204">
                  <c:v>42194</c:v>
                </c:pt>
                <c:pt idx="1205">
                  <c:v>42195</c:v>
                </c:pt>
                <c:pt idx="1206">
                  <c:v>42198</c:v>
                </c:pt>
                <c:pt idx="1207">
                  <c:v>42199</c:v>
                </c:pt>
                <c:pt idx="1208">
                  <c:v>42200</c:v>
                </c:pt>
                <c:pt idx="1209">
                  <c:v>42201</c:v>
                </c:pt>
                <c:pt idx="1210">
                  <c:v>42202</c:v>
                </c:pt>
                <c:pt idx="1211">
                  <c:v>42205</c:v>
                </c:pt>
                <c:pt idx="1212">
                  <c:v>42206</c:v>
                </c:pt>
                <c:pt idx="1213">
                  <c:v>42207</c:v>
                </c:pt>
                <c:pt idx="1214">
                  <c:v>42208</c:v>
                </c:pt>
                <c:pt idx="1215">
                  <c:v>42209</c:v>
                </c:pt>
                <c:pt idx="1216">
                  <c:v>42212</c:v>
                </c:pt>
                <c:pt idx="1217">
                  <c:v>42213</c:v>
                </c:pt>
                <c:pt idx="1218">
                  <c:v>42214</c:v>
                </c:pt>
                <c:pt idx="1219">
                  <c:v>42215</c:v>
                </c:pt>
                <c:pt idx="1220">
                  <c:v>42216</c:v>
                </c:pt>
                <c:pt idx="1221">
                  <c:v>42219</c:v>
                </c:pt>
                <c:pt idx="1222">
                  <c:v>42220</c:v>
                </c:pt>
                <c:pt idx="1223">
                  <c:v>42221</c:v>
                </c:pt>
                <c:pt idx="1224">
                  <c:v>42222</c:v>
                </c:pt>
                <c:pt idx="1225">
                  <c:v>42223</c:v>
                </c:pt>
                <c:pt idx="1226">
                  <c:v>42226</c:v>
                </c:pt>
                <c:pt idx="1227">
                  <c:v>42227</c:v>
                </c:pt>
                <c:pt idx="1228">
                  <c:v>42228</c:v>
                </c:pt>
                <c:pt idx="1229">
                  <c:v>42229</c:v>
                </c:pt>
                <c:pt idx="1230">
                  <c:v>42230</c:v>
                </c:pt>
                <c:pt idx="1231">
                  <c:v>42233</c:v>
                </c:pt>
                <c:pt idx="1232">
                  <c:v>42234</c:v>
                </c:pt>
                <c:pt idx="1233">
                  <c:v>42235</c:v>
                </c:pt>
                <c:pt idx="1234">
                  <c:v>42236</c:v>
                </c:pt>
                <c:pt idx="1235">
                  <c:v>42237</c:v>
                </c:pt>
                <c:pt idx="1236">
                  <c:v>42240</c:v>
                </c:pt>
                <c:pt idx="1237">
                  <c:v>42241</c:v>
                </c:pt>
                <c:pt idx="1238">
                  <c:v>42242</c:v>
                </c:pt>
                <c:pt idx="1239">
                  <c:v>42243</c:v>
                </c:pt>
                <c:pt idx="1240">
                  <c:v>42244</c:v>
                </c:pt>
                <c:pt idx="1241">
                  <c:v>42247</c:v>
                </c:pt>
                <c:pt idx="1242">
                  <c:v>42248</c:v>
                </c:pt>
                <c:pt idx="1243">
                  <c:v>42249</c:v>
                </c:pt>
                <c:pt idx="1244">
                  <c:v>42250</c:v>
                </c:pt>
                <c:pt idx="1245">
                  <c:v>42251</c:v>
                </c:pt>
              </c:numCache>
            </c:numRef>
          </c:cat>
          <c:val>
            <c:numRef>
              <c:f>Sheet1!$B$2:$B$1247</c:f>
              <c:numCache>
                <c:formatCode>General</c:formatCode>
                <c:ptCount val="1246"/>
                <c:pt idx="0">
                  <c:v>100</c:v>
                </c:pt>
                <c:pt idx="1">
                  <c:v>99.934064466574014</c:v>
                </c:pt>
                <c:pt idx="2">
                  <c:v>100.70108668428188</c:v>
                </c:pt>
                <c:pt idx="3">
                  <c:v>100.13270569378551</c:v>
                </c:pt>
                <c:pt idx="4">
                  <c:v>101.41719665478655</c:v>
                </c:pt>
                <c:pt idx="5">
                  <c:v>101.02742584337354</c:v>
                </c:pt>
                <c:pt idx="6">
                  <c:v>100.58423890365266</c:v>
                </c:pt>
                <c:pt idx="7">
                  <c:v>101.50650174468285</c:v>
                </c:pt>
                <c:pt idx="8">
                  <c:v>100.43567529671083</c:v>
                </c:pt>
                <c:pt idx="9">
                  <c:v>99.577678735340811</c:v>
                </c:pt>
                <c:pt idx="10">
                  <c:v>99.779658470590576</c:v>
                </c:pt>
                <c:pt idx="11">
                  <c:v>100.68189026318865</c:v>
                </c:pt>
                <c:pt idx="12">
                  <c:v>98.700485752877555</c:v>
                </c:pt>
                <c:pt idx="13">
                  <c:v>99.218789123104258</c:v>
                </c:pt>
                <c:pt idx="14">
                  <c:v>100.67104011214035</c:v>
                </c:pt>
                <c:pt idx="15">
                  <c:v>100.38810155734319</c:v>
                </c:pt>
                <c:pt idx="16">
                  <c:v>99.565159330222727</c:v>
                </c:pt>
                <c:pt idx="17">
                  <c:v>97.509473016440722</c:v>
                </c:pt>
                <c:pt idx="18">
                  <c:v>98.309880314429691</c:v>
                </c:pt>
                <c:pt idx="19">
                  <c:v>98.62954245744487</c:v>
                </c:pt>
                <c:pt idx="20">
                  <c:v>97.978533393432656</c:v>
                </c:pt>
                <c:pt idx="21">
                  <c:v>96.077253075532752</c:v>
                </c:pt>
                <c:pt idx="22">
                  <c:v>95.49885656102299</c:v>
                </c:pt>
                <c:pt idx="23">
                  <c:v>97.63550169425109</c:v>
                </c:pt>
                <c:pt idx="24">
                  <c:v>99.338140784838146</c:v>
                </c:pt>
                <c:pt idx="25">
                  <c:v>99.334802276799905</c:v>
                </c:pt>
                <c:pt idx="26">
                  <c:v>98.969235648588182</c:v>
                </c:pt>
                <c:pt idx="27">
                  <c:v>99.979968951871854</c:v>
                </c:pt>
                <c:pt idx="28">
                  <c:v>100.40479409753441</c:v>
                </c:pt>
                <c:pt idx="29">
                  <c:v>101.00822942228032</c:v>
                </c:pt>
                <c:pt idx="30">
                  <c:v>100.60260069771103</c:v>
                </c:pt>
                <c:pt idx="31">
                  <c:v>100.9431285157879</c:v>
                </c:pt>
                <c:pt idx="32">
                  <c:v>101.25027125378634</c:v>
                </c:pt>
                <c:pt idx="33">
                  <c:v>100.66853623113701</c:v>
                </c:pt>
                <c:pt idx="34">
                  <c:v>100.97985210410725</c:v>
                </c:pt>
                <c:pt idx="35">
                  <c:v>100.03088119917642</c:v>
                </c:pt>
                <c:pt idx="36">
                  <c:v>100.81543058400906</c:v>
                </c:pt>
                <c:pt idx="37">
                  <c:v>101.63753818429728</c:v>
                </c:pt>
                <c:pt idx="38">
                  <c:v>101.68761580436431</c:v>
                </c:pt>
                <c:pt idx="39">
                  <c:v>101.60832623908931</c:v>
                </c:pt>
                <c:pt idx="40">
                  <c:v>101.41886590905895</c:v>
                </c:pt>
                <c:pt idx="41">
                  <c:v>100.65017443697732</c:v>
                </c:pt>
                <c:pt idx="42">
                  <c:v>100.74114878053815</c:v>
                </c:pt>
                <c:pt idx="43">
                  <c:v>101.17682407724897</c:v>
                </c:pt>
                <c:pt idx="44">
                  <c:v>100.28377318173074</c:v>
                </c:pt>
                <c:pt idx="45">
                  <c:v>99.880648338266113</c:v>
                </c:pt>
                <c:pt idx="46">
                  <c:v>101.16847780720404</c:v>
                </c:pt>
                <c:pt idx="47">
                  <c:v>101.31871066821567</c:v>
                </c:pt>
                <c:pt idx="48">
                  <c:v>100.66519772309877</c:v>
                </c:pt>
                <c:pt idx="49">
                  <c:v>100.88720850647665</c:v>
                </c:pt>
                <c:pt idx="50">
                  <c:v>100.24704959351271</c:v>
                </c:pt>
                <c:pt idx="51">
                  <c:v>98.645400370499871</c:v>
                </c:pt>
                <c:pt idx="52">
                  <c:v>99.380706762097759</c:v>
                </c:pt>
                <c:pt idx="53">
                  <c:v>101.61834176269744</c:v>
                </c:pt>
                <c:pt idx="54">
                  <c:v>102.16335319702743</c:v>
                </c:pt>
                <c:pt idx="55">
                  <c:v>102.4329377199756</c:v>
                </c:pt>
                <c:pt idx="56">
                  <c:v>101.93967315998505</c:v>
                </c:pt>
                <c:pt idx="57">
                  <c:v>103.04889245024486</c:v>
                </c:pt>
                <c:pt idx="58">
                  <c:v>102.47717295160894</c:v>
                </c:pt>
                <c:pt idx="59">
                  <c:v>102.42876458480114</c:v>
                </c:pt>
                <c:pt idx="60">
                  <c:v>104.02206753807299</c:v>
                </c:pt>
                <c:pt idx="61">
                  <c:v>104.29165206102115</c:v>
                </c:pt>
                <c:pt idx="62">
                  <c:v>103.47705610374301</c:v>
                </c:pt>
                <c:pt idx="63">
                  <c:v>103.69489375235173</c:v>
                </c:pt>
                <c:pt idx="64">
                  <c:v>104.31919475195667</c:v>
                </c:pt>
                <c:pt idx="65">
                  <c:v>103.6857128553732</c:v>
                </c:pt>
                <c:pt idx="66">
                  <c:v>103.86432303415263</c:v>
                </c:pt>
                <c:pt idx="67">
                  <c:v>105.45929524068369</c:v>
                </c:pt>
                <c:pt idx="68">
                  <c:v>105.14130235194092</c:v>
                </c:pt>
                <c:pt idx="69">
                  <c:v>104.42769626243964</c:v>
                </c:pt>
                <c:pt idx="70">
                  <c:v>104.93681873548519</c:v>
                </c:pt>
                <c:pt idx="71">
                  <c:v>105.6846445319985</c:v>
                </c:pt>
                <c:pt idx="72">
                  <c:v>105.94671741224057</c:v>
                </c:pt>
                <c:pt idx="73">
                  <c:v>105.9158362127602</c:v>
                </c:pt>
                <c:pt idx="74">
                  <c:v>105.74390305005726</c:v>
                </c:pt>
                <c:pt idx="75">
                  <c:v>105.96925234137204</c:v>
                </c:pt>
                <c:pt idx="76">
                  <c:v>105.77812275706928</c:v>
                </c:pt>
                <c:pt idx="77">
                  <c:v>105.61787437224687</c:v>
                </c:pt>
                <c:pt idx="78">
                  <c:v>106.54597960181205</c:v>
                </c:pt>
                <c:pt idx="79">
                  <c:v>106.42913182098017</c:v>
                </c:pt>
                <c:pt idx="80">
                  <c:v>106.82808352927036</c:v>
                </c:pt>
                <c:pt idx="81">
                  <c:v>105.04949338114258</c:v>
                </c:pt>
                <c:pt idx="82">
                  <c:v>104.40933446848261</c:v>
                </c:pt>
                <c:pt idx="83">
                  <c:v>103.51461431929987</c:v>
                </c:pt>
                <c:pt idx="84">
                  <c:v>102.98879930555654</c:v>
                </c:pt>
                <c:pt idx="85">
                  <c:v>103.83594571557427</c:v>
                </c:pt>
                <c:pt idx="86">
                  <c:v>104.55038643271837</c:v>
                </c:pt>
                <c:pt idx="87">
                  <c:v>104.09801859581636</c:v>
                </c:pt>
                <c:pt idx="88">
                  <c:v>103.26255696367912</c:v>
                </c:pt>
                <c:pt idx="89">
                  <c:v>103.3410119013113</c:v>
                </c:pt>
                <c:pt idx="90">
                  <c:v>102.84107032524427</c:v>
                </c:pt>
                <c:pt idx="91">
                  <c:v>102.67998731379227</c:v>
                </c:pt>
                <c:pt idx="92">
                  <c:v>103.13235515069429</c:v>
                </c:pt>
                <c:pt idx="93">
                  <c:v>103.11148947482205</c:v>
                </c:pt>
                <c:pt idx="94">
                  <c:v>102.22511559598819</c:v>
                </c:pt>
                <c:pt idx="95">
                  <c:v>101.21187841149855</c:v>
                </c:pt>
                <c:pt idx="96">
                  <c:v>99.950757006663892</c:v>
                </c:pt>
                <c:pt idx="97">
                  <c:v>98.075350126035048</c:v>
                </c:pt>
                <c:pt idx="98">
                  <c:v>96.484551054070508</c:v>
                </c:pt>
                <c:pt idx="99">
                  <c:v>98.391673761012001</c:v>
                </c:pt>
                <c:pt idx="100">
                  <c:v>98.378319728859026</c:v>
                </c:pt>
                <c:pt idx="101">
                  <c:v>100.67771712821683</c:v>
                </c:pt>
                <c:pt idx="102">
                  <c:v>100.63515115095723</c:v>
                </c:pt>
                <c:pt idx="103">
                  <c:v>101.11172317085789</c:v>
                </c:pt>
                <c:pt idx="104">
                  <c:v>102.06570183779542</c:v>
                </c:pt>
                <c:pt idx="105">
                  <c:v>102.14666065734281</c:v>
                </c:pt>
                <c:pt idx="106">
                  <c:v>102.38870248834225</c:v>
                </c:pt>
                <c:pt idx="107">
                  <c:v>102.41207204511653</c:v>
                </c:pt>
                <c:pt idx="108">
                  <c:v>103.32765787017154</c:v>
                </c:pt>
                <c:pt idx="109">
                  <c:v>102.70502612382579</c:v>
                </c:pt>
                <c:pt idx="110">
                  <c:v>104.08132605511852</c:v>
                </c:pt>
                <c:pt idx="111">
                  <c:v>104.09217620636946</c:v>
                </c:pt>
                <c:pt idx="112">
                  <c:v>104.07131053151039</c:v>
                </c:pt>
                <c:pt idx="113">
                  <c:v>104.64553391104836</c:v>
                </c:pt>
                <c:pt idx="114">
                  <c:v>104.49613567646369</c:v>
                </c:pt>
                <c:pt idx="115">
                  <c:v>105.34161283322223</c:v>
                </c:pt>
                <c:pt idx="116">
                  <c:v>105.35830537290684</c:v>
                </c:pt>
                <c:pt idx="117">
                  <c:v>104.12806516765392</c:v>
                </c:pt>
                <c:pt idx="118">
                  <c:v>104.99023486409706</c:v>
                </c:pt>
                <c:pt idx="119">
                  <c:v>104.04794097473611</c:v>
                </c:pt>
                <c:pt idx="120">
                  <c:v>103.97616305318043</c:v>
                </c:pt>
                <c:pt idx="121">
                  <c:v>101.81197522790227</c:v>
                </c:pt>
                <c:pt idx="122">
                  <c:v>102.0715442272423</c:v>
                </c:pt>
                <c:pt idx="123">
                  <c:v>103.80172600856226</c:v>
                </c:pt>
                <c:pt idx="124">
                  <c:v>103.79254511158373</c:v>
                </c:pt>
                <c:pt idx="125">
                  <c:v>104.34006042681577</c:v>
                </c:pt>
                <c:pt idx="126">
                  <c:v>104.9384879897576</c:v>
                </c:pt>
                <c:pt idx="127">
                  <c:v>106.14869714678107</c:v>
                </c:pt>
                <c:pt idx="128">
                  <c:v>106.43914734458831</c:v>
                </c:pt>
                <c:pt idx="129">
                  <c:v>106.57519154702</c:v>
                </c:pt>
                <c:pt idx="130">
                  <c:v>106.3974159948702</c:v>
                </c:pt>
                <c:pt idx="131">
                  <c:v>105.28485819707871</c:v>
                </c:pt>
                <c:pt idx="132">
                  <c:v>104.74819303208444</c:v>
                </c:pt>
                <c:pt idx="133">
                  <c:v>105.64875557071404</c:v>
                </c:pt>
                <c:pt idx="134">
                  <c:v>104.44772731066909</c:v>
                </c:pt>
                <c:pt idx="135">
                  <c:v>105.32408566589481</c:v>
                </c:pt>
                <c:pt idx="136">
                  <c:v>105.85073530626778</c:v>
                </c:pt>
                <c:pt idx="137">
                  <c:v>105.12961757406039</c:v>
                </c:pt>
                <c:pt idx="138">
                  <c:v>104.58210225882839</c:v>
                </c:pt>
                <c:pt idx="139">
                  <c:v>104.12639591338149</c:v>
                </c:pt>
                <c:pt idx="140">
                  <c:v>103.11399335673728</c:v>
                </c:pt>
                <c:pt idx="141">
                  <c:v>103.54716477203947</c:v>
                </c:pt>
                <c:pt idx="142">
                  <c:v>104.33922580018613</c:v>
                </c:pt>
                <c:pt idx="143">
                  <c:v>103.64147762373986</c:v>
                </c:pt>
                <c:pt idx="144">
                  <c:v>101.96387734338894</c:v>
                </c:pt>
                <c:pt idx="145">
                  <c:v>102.03565526595784</c:v>
                </c:pt>
                <c:pt idx="146">
                  <c:v>102.61655566157228</c:v>
                </c:pt>
                <c:pt idx="147">
                  <c:v>102.19840753168225</c:v>
                </c:pt>
                <c:pt idx="148">
                  <c:v>102.79015807854765</c:v>
                </c:pt>
                <c:pt idx="149">
                  <c:v>102.47383444306411</c:v>
                </c:pt>
                <c:pt idx="150">
                  <c:v>103.96280902102745</c:v>
                </c:pt>
                <c:pt idx="151">
                  <c:v>103.06641961655907</c:v>
                </c:pt>
                <c:pt idx="152">
                  <c:v>101.8078020927278</c:v>
                </c:pt>
                <c:pt idx="153">
                  <c:v>101.65089221645025</c:v>
                </c:pt>
                <c:pt idx="154">
                  <c:v>100.69524429534162</c:v>
                </c:pt>
                <c:pt idx="155">
                  <c:v>101.19852437944689</c:v>
                </c:pt>
                <c:pt idx="156">
                  <c:v>100.28878094373744</c:v>
                </c:pt>
                <c:pt idx="157">
                  <c:v>101.21354766556831</c:v>
                </c:pt>
                <c:pt idx="158">
                  <c:v>99.676164721911675</c:v>
                </c:pt>
                <c:pt idx="159">
                  <c:v>99.908191029404293</c:v>
                </c:pt>
                <c:pt idx="160">
                  <c:v>101.08000734464657</c:v>
                </c:pt>
                <c:pt idx="161">
                  <c:v>99.499223796898079</c:v>
                </c:pt>
                <c:pt idx="162">
                  <c:v>98.9467007194567</c:v>
                </c:pt>
                <c:pt idx="163">
                  <c:v>100.17944480611827</c:v>
                </c:pt>
                <c:pt idx="164">
                  <c:v>99.242158679270631</c:v>
                </c:pt>
                <c:pt idx="165">
                  <c:v>101.04328375642855</c:v>
                </c:pt>
                <c:pt idx="166">
                  <c:v>100.82878461616205</c:v>
                </c:pt>
                <c:pt idx="167">
                  <c:v>98.944196838453351</c:v>
                </c:pt>
                <c:pt idx="168">
                  <c:v>98.238102392063439</c:v>
                </c:pt>
                <c:pt idx="169">
                  <c:v>98.347438529682606</c:v>
                </c:pt>
                <c:pt idx="170">
                  <c:v>98.854891748861007</c:v>
                </c:pt>
                <c:pt idx="171">
                  <c:v>100.64433204793575</c:v>
                </c:pt>
                <c:pt idx="172">
                  <c:v>102.47383444306411</c:v>
                </c:pt>
                <c:pt idx="173">
                  <c:v>103.54883402631189</c:v>
                </c:pt>
                <c:pt idx="174">
                  <c:v>103.33767339377967</c:v>
                </c:pt>
                <c:pt idx="175">
                  <c:v>102.60904401785298</c:v>
                </c:pt>
                <c:pt idx="176">
                  <c:v>101.52987130044393</c:v>
                </c:pt>
                <c:pt idx="177">
                  <c:v>102.18421887289971</c:v>
                </c:pt>
                <c:pt idx="178">
                  <c:v>100.26123825259926</c:v>
                </c:pt>
                <c:pt idx="179">
                  <c:v>97.569566160825104</c:v>
                </c:pt>
                <c:pt idx="180">
                  <c:v>96.741616171697956</c:v>
                </c:pt>
                <c:pt idx="181">
                  <c:v>97.469410920184458</c:v>
                </c:pt>
                <c:pt idx="182">
                  <c:v>96.81589797516888</c:v>
                </c:pt>
                <c:pt idx="183">
                  <c:v>95.960405294802214</c:v>
                </c:pt>
                <c:pt idx="184">
                  <c:v>94.236900529153459</c:v>
                </c:pt>
                <c:pt idx="185">
                  <c:v>95.553107316264459</c:v>
                </c:pt>
                <c:pt idx="186">
                  <c:v>97.60462049507467</c:v>
                </c:pt>
                <c:pt idx="187">
                  <c:v>99.777989216622103</c:v>
                </c:pt>
                <c:pt idx="188">
                  <c:v>100.54501143432999</c:v>
                </c:pt>
                <c:pt idx="189">
                  <c:v>99.581851870413942</c:v>
                </c:pt>
                <c:pt idx="190">
                  <c:v>99.452484684565334</c:v>
                </c:pt>
                <c:pt idx="191">
                  <c:v>97.823292770414298</c:v>
                </c:pt>
                <c:pt idx="192">
                  <c:v>97.622982289234329</c:v>
                </c:pt>
                <c:pt idx="193">
                  <c:v>97.257415660921296</c:v>
                </c:pt>
                <c:pt idx="194">
                  <c:v>94.44221877244145</c:v>
                </c:pt>
                <c:pt idx="195">
                  <c:v>92.909008963857957</c:v>
                </c:pt>
                <c:pt idx="196">
                  <c:v>91.258951374645235</c:v>
                </c:pt>
                <c:pt idx="197">
                  <c:v>88.616522276207192</c:v>
                </c:pt>
                <c:pt idx="198">
                  <c:v>87.418832523693851</c:v>
                </c:pt>
                <c:pt idx="199">
                  <c:v>84.73550670206599</c:v>
                </c:pt>
                <c:pt idx="200">
                  <c:v>84.878227919966236</c:v>
                </c:pt>
                <c:pt idx="201">
                  <c:v>80.988031448745218</c:v>
                </c:pt>
                <c:pt idx="202">
                  <c:v>83.055402540610416</c:v>
                </c:pt>
                <c:pt idx="203">
                  <c:v>86.156876491824335</c:v>
                </c:pt>
                <c:pt idx="204">
                  <c:v>87.261922646707063</c:v>
                </c:pt>
                <c:pt idx="205">
                  <c:v>86.196103961147017</c:v>
                </c:pt>
                <c:pt idx="206">
                  <c:v>86.589213280598244</c:v>
                </c:pt>
                <c:pt idx="207">
                  <c:v>82.550453202435364</c:v>
                </c:pt>
                <c:pt idx="208">
                  <c:v>81.04144757705312</c:v>
                </c:pt>
                <c:pt idx="209">
                  <c:v>82.118951040797654</c:v>
                </c:pt>
                <c:pt idx="210">
                  <c:v>82.896823409553832</c:v>
                </c:pt>
                <c:pt idx="211">
                  <c:v>84.30901230233367</c:v>
                </c:pt>
                <c:pt idx="212">
                  <c:v>83.557847997680796</c:v>
                </c:pt>
                <c:pt idx="213">
                  <c:v>82.588011417688278</c:v>
                </c:pt>
                <c:pt idx="214">
                  <c:v>84.618658921335438</c:v>
                </c:pt>
                <c:pt idx="215">
                  <c:v>84.566077419961104</c:v>
                </c:pt>
                <c:pt idx="216">
                  <c:v>86.616755971736424</c:v>
                </c:pt>
                <c:pt idx="217">
                  <c:v>86.864640192284043</c:v>
                </c:pt>
                <c:pt idx="218">
                  <c:v>84.568581300964468</c:v>
                </c:pt>
                <c:pt idx="219">
                  <c:v>81.237584923261281</c:v>
                </c:pt>
                <c:pt idx="220">
                  <c:v>80.387100005002637</c:v>
                </c:pt>
                <c:pt idx="221">
                  <c:v>82.50454871713751</c:v>
                </c:pt>
                <c:pt idx="222">
                  <c:v>83.073764334668766</c:v>
                </c:pt>
                <c:pt idx="223">
                  <c:v>80.105830704275263</c:v>
                </c:pt>
                <c:pt idx="224">
                  <c:v>77.263091124555913</c:v>
                </c:pt>
                <c:pt idx="225">
                  <c:v>78.331413691220632</c:v>
                </c:pt>
                <c:pt idx="226">
                  <c:v>80.186789523721345</c:v>
                </c:pt>
                <c:pt idx="227">
                  <c:v>82.573822758601722</c:v>
                </c:pt>
                <c:pt idx="228">
                  <c:v>82.956081927004661</c:v>
                </c:pt>
                <c:pt idx="229">
                  <c:v>81.11239087248579</c:v>
                </c:pt>
                <c:pt idx="230">
                  <c:v>82.53876842435217</c:v>
                </c:pt>
                <c:pt idx="231">
                  <c:v>81.336070909933483</c:v>
                </c:pt>
                <c:pt idx="232">
                  <c:v>77.896573021544697</c:v>
                </c:pt>
                <c:pt idx="233">
                  <c:v>78.069340811586486</c:v>
                </c:pt>
                <c:pt idx="234">
                  <c:v>79.907189476962415</c:v>
                </c:pt>
                <c:pt idx="235">
                  <c:v>83.640476071196673</c:v>
                </c:pt>
                <c:pt idx="236">
                  <c:v>83.32164855521637</c:v>
                </c:pt>
                <c:pt idx="237">
                  <c:v>84.566077419961104</c:v>
                </c:pt>
                <c:pt idx="238">
                  <c:v>83.726442652750777</c:v>
                </c:pt>
                <c:pt idx="239">
                  <c:v>82.264176139701277</c:v>
                </c:pt>
                <c:pt idx="240">
                  <c:v>80.759343649290841</c:v>
                </c:pt>
                <c:pt idx="241">
                  <c:v>83.873337005622844</c:v>
                </c:pt>
                <c:pt idx="242">
                  <c:v>86.509923715019298</c:v>
                </c:pt>
                <c:pt idx="243">
                  <c:v>87.026557831277543</c:v>
                </c:pt>
                <c:pt idx="244">
                  <c:v>88.588979584967689</c:v>
                </c:pt>
                <c:pt idx="245">
                  <c:v>88.149131153285055</c:v>
                </c:pt>
                <c:pt idx="246">
                  <c:v>89.903517118211539</c:v>
                </c:pt>
                <c:pt idx="247">
                  <c:v>88.781778423238933</c:v>
                </c:pt>
                <c:pt idx="248">
                  <c:v>89.696529620853767</c:v>
                </c:pt>
                <c:pt idx="249">
                  <c:v>88.339426110451612</c:v>
                </c:pt>
                <c:pt idx="250">
                  <c:v>87.931293504878965</c:v>
                </c:pt>
                <c:pt idx="251">
                  <c:v>88.594821974009278</c:v>
                </c:pt>
                <c:pt idx="252">
                  <c:v>86.340494433015735</c:v>
                </c:pt>
                <c:pt idx="253">
                  <c:v>88.457108518217041</c:v>
                </c:pt>
                <c:pt idx="254">
                  <c:v>89.372694342866765</c:v>
                </c:pt>
                <c:pt idx="255">
                  <c:v>88.392007611724623</c:v>
                </c:pt>
                <c:pt idx="256">
                  <c:v>88.318560435288589</c:v>
                </c:pt>
                <c:pt idx="257">
                  <c:v>92.381524696551438</c:v>
                </c:pt>
                <c:pt idx="258">
                  <c:v>91.365783631261039</c:v>
                </c:pt>
                <c:pt idx="259">
                  <c:v>88.972908007339058</c:v>
                </c:pt>
                <c:pt idx="260">
                  <c:v>84.839000450643553</c:v>
                </c:pt>
                <c:pt idx="261">
                  <c:v>85.702004774020267</c:v>
                </c:pt>
                <c:pt idx="262">
                  <c:v>87.974694109173484</c:v>
                </c:pt>
                <c:pt idx="263">
                  <c:v>86.479877142877754</c:v>
                </c:pt>
                <c:pt idx="264">
                  <c:v>86.329644281967461</c:v>
                </c:pt>
                <c:pt idx="265">
                  <c:v>86.846278398124369</c:v>
                </c:pt>
                <c:pt idx="266">
                  <c:v>84.73801058306934</c:v>
                </c:pt>
                <c:pt idx="267">
                  <c:v>85.174520506713733</c:v>
                </c:pt>
                <c:pt idx="268">
                  <c:v>87.793580049086728</c:v>
                </c:pt>
                <c:pt idx="269">
                  <c:v>86.595890296573401</c:v>
                </c:pt>
                <c:pt idx="270">
                  <c:v>85.334768891738776</c:v>
                </c:pt>
                <c:pt idx="271">
                  <c:v>85.677800590920342</c:v>
                </c:pt>
                <c:pt idx="272">
                  <c:v>84.571085181967817</c:v>
                </c:pt>
                <c:pt idx="273">
                  <c:v>84.587777722159018</c:v>
                </c:pt>
                <c:pt idx="274">
                  <c:v>81.819319945910607</c:v>
                </c:pt>
                <c:pt idx="275">
                  <c:v>81.185838048921838</c:v>
                </c:pt>
                <c:pt idx="276">
                  <c:v>79.871300515779296</c:v>
                </c:pt>
                <c:pt idx="277">
                  <c:v>79.576677182898948</c:v>
                </c:pt>
                <c:pt idx="278">
                  <c:v>80.278598494317038</c:v>
                </c:pt>
                <c:pt idx="279">
                  <c:v>84.143756155301944</c:v>
                </c:pt>
                <c:pt idx="280">
                  <c:v>84.955013604440524</c:v>
                </c:pt>
                <c:pt idx="281">
                  <c:v>88.503013003413571</c:v>
                </c:pt>
                <c:pt idx="282">
                  <c:v>87.822791994193381</c:v>
                </c:pt>
                <c:pt idx="283">
                  <c:v>88.639891832272227</c:v>
                </c:pt>
                <c:pt idx="284">
                  <c:v>89.753284257199923</c:v>
                </c:pt>
                <c:pt idx="285">
                  <c:v>89.175722369623713</c:v>
                </c:pt>
                <c:pt idx="286">
                  <c:v>88.869414258761509</c:v>
                </c:pt>
                <c:pt idx="287">
                  <c:v>87.399636102600624</c:v>
                </c:pt>
                <c:pt idx="288">
                  <c:v>89.06889011300791</c:v>
                </c:pt>
                <c:pt idx="289">
                  <c:v>86.690203148172458</c:v>
                </c:pt>
                <c:pt idx="290">
                  <c:v>86.121822157676093</c:v>
                </c:pt>
                <c:pt idx="291">
                  <c:v>84.414175305082338</c:v>
                </c:pt>
                <c:pt idx="292">
                  <c:v>85.253810072292694</c:v>
                </c:pt>
                <c:pt idx="293">
                  <c:v>85.186205284796927</c:v>
                </c:pt>
                <c:pt idx="294">
                  <c:v>85.289699033475813</c:v>
                </c:pt>
                <c:pt idx="295">
                  <c:v>86.988999616024614</c:v>
                </c:pt>
                <c:pt idx="296">
                  <c:v>86.290416812746088</c:v>
                </c:pt>
                <c:pt idx="297">
                  <c:v>87.295307726988156</c:v>
                </c:pt>
                <c:pt idx="298">
                  <c:v>87.980536498215073</c:v>
                </c:pt>
                <c:pt idx="299">
                  <c:v>88.0214332215062</c:v>
                </c:pt>
                <c:pt idx="300">
                  <c:v>86.912213931550355</c:v>
                </c:pt>
                <c:pt idx="301">
                  <c:v>87.778556762965309</c:v>
                </c:pt>
                <c:pt idx="302">
                  <c:v>88.765085883047718</c:v>
                </c:pt>
                <c:pt idx="303">
                  <c:v>90.484417513825974</c:v>
                </c:pt>
                <c:pt idx="304">
                  <c:v>91.129584188796628</c:v>
                </c:pt>
                <c:pt idx="305">
                  <c:v>89.599712888251361</c:v>
                </c:pt>
                <c:pt idx="306">
                  <c:v>87.94715141803529</c:v>
                </c:pt>
                <c:pt idx="307">
                  <c:v>87.485602684154742</c:v>
                </c:pt>
                <c:pt idx="308">
                  <c:v>87.058273657488854</c:v>
                </c:pt>
                <c:pt idx="309">
                  <c:v>88.948703824239132</c:v>
                </c:pt>
                <c:pt idx="310">
                  <c:v>88.560602266794604</c:v>
                </c:pt>
                <c:pt idx="311">
                  <c:v>88.610679887165588</c:v>
                </c:pt>
                <c:pt idx="312">
                  <c:v>88.28851386314706</c:v>
                </c:pt>
                <c:pt idx="313">
                  <c:v>88.830186789540136</c:v>
                </c:pt>
                <c:pt idx="314">
                  <c:v>89.755788138304595</c:v>
                </c:pt>
                <c:pt idx="315">
                  <c:v>89.301751047434081</c:v>
                </c:pt>
                <c:pt idx="316">
                  <c:v>90.599596040486745</c:v>
                </c:pt>
                <c:pt idx="317">
                  <c:v>90.382593019115546</c:v>
                </c:pt>
                <c:pt idx="318">
                  <c:v>90.629642612729583</c:v>
                </c:pt>
                <c:pt idx="319">
                  <c:v>89.829235314740629</c:v>
                </c:pt>
                <c:pt idx="320">
                  <c:v>89.844258600760725</c:v>
                </c:pt>
                <c:pt idx="321">
                  <c:v>91.341579448161099</c:v>
                </c:pt>
                <c:pt idx="322">
                  <c:v>90.762348306515122</c:v>
                </c:pt>
                <c:pt idx="323">
                  <c:v>89.81003889354605</c:v>
                </c:pt>
                <c:pt idx="324">
                  <c:v>90.303303453637923</c:v>
                </c:pt>
                <c:pt idx="325">
                  <c:v>92.175371826329851</c:v>
                </c:pt>
                <c:pt idx="326">
                  <c:v>91.834009381218081</c:v>
                </c:pt>
                <c:pt idx="327">
                  <c:v>92.641093695182221</c:v>
                </c:pt>
                <c:pt idx="328">
                  <c:v>92.666132505317051</c:v>
                </c:pt>
                <c:pt idx="329">
                  <c:v>92.810522977287079</c:v>
                </c:pt>
                <c:pt idx="330">
                  <c:v>92.566811891711282</c:v>
                </c:pt>
                <c:pt idx="331">
                  <c:v>92.480010683223611</c:v>
                </c:pt>
                <c:pt idx="332">
                  <c:v>91.300682724869958</c:v>
                </c:pt>
                <c:pt idx="333">
                  <c:v>91.869898342401214</c:v>
                </c:pt>
                <c:pt idx="334">
                  <c:v>91.83317475418319</c:v>
                </c:pt>
                <c:pt idx="335">
                  <c:v>92.126128832993771</c:v>
                </c:pt>
                <c:pt idx="336">
                  <c:v>91.63787203500992</c:v>
                </c:pt>
                <c:pt idx="337">
                  <c:v>92.76545311902413</c:v>
                </c:pt>
                <c:pt idx="338">
                  <c:v>93.775351795272911</c:v>
                </c:pt>
                <c:pt idx="339">
                  <c:v>93.236182749883184</c:v>
                </c:pt>
                <c:pt idx="340">
                  <c:v>92.398217236641315</c:v>
                </c:pt>
                <c:pt idx="341">
                  <c:v>91.82065534906512</c:v>
                </c:pt>
                <c:pt idx="342">
                  <c:v>92.5067187473269</c:v>
                </c:pt>
                <c:pt idx="343">
                  <c:v>92.446625602942518</c:v>
                </c:pt>
                <c:pt idx="344">
                  <c:v>92.15033301619502</c:v>
                </c:pt>
                <c:pt idx="345">
                  <c:v>92.162852421211781</c:v>
                </c:pt>
                <c:pt idx="346">
                  <c:v>92.621062647054103</c:v>
                </c:pt>
                <c:pt idx="347">
                  <c:v>92.261338407883969</c:v>
                </c:pt>
                <c:pt idx="348">
                  <c:v>91.521024254279382</c:v>
                </c:pt>
                <c:pt idx="349">
                  <c:v>88.980419650450443</c:v>
                </c:pt>
                <c:pt idx="350">
                  <c:v>89.677333199760525</c:v>
                </c:pt>
                <c:pt idx="351">
                  <c:v>91.206369873270901</c:v>
                </c:pt>
                <c:pt idx="352">
                  <c:v>91.669587861119908</c:v>
                </c:pt>
                <c:pt idx="353">
                  <c:v>92.040162251439639</c:v>
                </c:pt>
                <c:pt idx="354">
                  <c:v>93.706077753808685</c:v>
                </c:pt>
                <c:pt idx="355">
                  <c:v>94.336221142759229</c:v>
                </c:pt>
                <c:pt idx="356">
                  <c:v>94.468926836544739</c:v>
                </c:pt>
                <c:pt idx="357">
                  <c:v>94.746023002300319</c:v>
                </c:pt>
                <c:pt idx="358">
                  <c:v>95.154155607872966</c:v>
                </c:pt>
                <c:pt idx="359">
                  <c:v>94.958018261563481</c:v>
                </c:pt>
                <c:pt idx="360">
                  <c:v>94.43303787536162</c:v>
                </c:pt>
                <c:pt idx="361">
                  <c:v>93.459028160295958</c:v>
                </c:pt>
                <c:pt idx="362">
                  <c:v>93.474886073350959</c:v>
                </c:pt>
                <c:pt idx="363">
                  <c:v>93.987347054536073</c:v>
                </c:pt>
                <c:pt idx="364">
                  <c:v>93.470712938379165</c:v>
                </c:pt>
                <c:pt idx="365">
                  <c:v>92.47917605618872</c:v>
                </c:pt>
                <c:pt idx="366">
                  <c:v>91.021917305145919</c:v>
                </c:pt>
                <c:pt idx="367">
                  <c:v>91.728846378570722</c:v>
                </c:pt>
                <c:pt idx="368">
                  <c:v>92.313919909156979</c:v>
                </c:pt>
                <c:pt idx="369">
                  <c:v>91.269801525693524</c:v>
                </c:pt>
                <c:pt idx="370">
                  <c:v>88.795132455290585</c:v>
                </c:pt>
                <c:pt idx="371">
                  <c:v>88.671607658483552</c:v>
                </c:pt>
                <c:pt idx="372">
                  <c:v>86.469861618864357</c:v>
                </c:pt>
                <c:pt idx="373">
                  <c:v>87.403809237673755</c:v>
                </c:pt>
                <c:pt idx="374">
                  <c:v>87.478091041043356</c:v>
                </c:pt>
                <c:pt idx="375">
                  <c:v>85.691154622971979</c:v>
                </c:pt>
                <c:pt idx="376">
                  <c:v>85.938204216484692</c:v>
                </c:pt>
                <c:pt idx="377">
                  <c:v>88.024771729443145</c:v>
                </c:pt>
                <c:pt idx="378">
                  <c:v>86.521608493102491</c:v>
                </c:pt>
                <c:pt idx="379">
                  <c:v>85.347288296856846</c:v>
                </c:pt>
                <c:pt idx="380">
                  <c:v>86.514931477127305</c:v>
                </c:pt>
                <c:pt idx="381">
                  <c:v>84.392475002884424</c:v>
                </c:pt>
                <c:pt idx="382">
                  <c:v>86.352179211098928</c:v>
                </c:pt>
                <c:pt idx="383">
                  <c:v>87.792745422051837</c:v>
                </c:pt>
                <c:pt idx="384">
                  <c:v>87.049927387443901</c:v>
                </c:pt>
                <c:pt idx="385">
                  <c:v>88.177508471458125</c:v>
                </c:pt>
                <c:pt idx="386">
                  <c:v>87.21601816140921</c:v>
                </c:pt>
                <c:pt idx="387">
                  <c:v>87.245230106617171</c:v>
                </c:pt>
                <c:pt idx="388">
                  <c:v>86.229489041326815</c:v>
                </c:pt>
                <c:pt idx="389">
                  <c:v>86.013320646990493</c:v>
                </c:pt>
                <c:pt idx="390">
                  <c:v>85.671958201878724</c:v>
                </c:pt>
                <c:pt idx="391">
                  <c:v>86.792027642781562</c:v>
                </c:pt>
                <c:pt idx="392">
                  <c:v>86.837932128079416</c:v>
                </c:pt>
                <c:pt idx="393">
                  <c:v>86.349675330095579</c:v>
                </c:pt>
                <c:pt idx="394">
                  <c:v>87.595773448808785</c:v>
                </c:pt>
                <c:pt idx="395">
                  <c:v>87.62999315602346</c:v>
                </c:pt>
                <c:pt idx="396">
                  <c:v>85.616872819501054</c:v>
                </c:pt>
                <c:pt idx="397">
                  <c:v>84.623666683342151</c:v>
                </c:pt>
                <c:pt idx="398">
                  <c:v>84.124559734208688</c:v>
                </c:pt>
                <c:pt idx="399">
                  <c:v>83.219824060607266</c:v>
                </c:pt>
                <c:pt idx="400">
                  <c:v>83.383410953670534</c:v>
                </c:pt>
                <c:pt idx="401">
                  <c:v>83.787370424170064</c:v>
                </c:pt>
                <c:pt idx="402">
                  <c:v>85.245463802247741</c:v>
                </c:pt>
                <c:pt idx="403">
                  <c:v>82.866776837412303</c:v>
                </c:pt>
                <c:pt idx="404">
                  <c:v>83.582052180882059</c:v>
                </c:pt>
                <c:pt idx="405">
                  <c:v>83.667184135401271</c:v>
                </c:pt>
                <c:pt idx="406">
                  <c:v>82.952743418966406</c:v>
                </c:pt>
                <c:pt idx="407">
                  <c:v>82.796668169014509</c:v>
                </c:pt>
                <c:pt idx="408">
                  <c:v>81.735022618324962</c:v>
                </c:pt>
                <c:pt idx="409">
                  <c:v>81.713322316228371</c:v>
                </c:pt>
                <c:pt idx="410">
                  <c:v>80.291952526368689</c:v>
                </c:pt>
                <c:pt idx="411">
                  <c:v>80.510624801708346</c:v>
                </c:pt>
                <c:pt idx="412">
                  <c:v>80.492263007649996</c:v>
                </c:pt>
                <c:pt idx="413">
                  <c:v>82.506217971207292</c:v>
                </c:pt>
                <c:pt idx="414">
                  <c:v>82.936050878876529</c:v>
                </c:pt>
                <c:pt idx="415">
                  <c:v>83.211477790562313</c:v>
                </c:pt>
                <c:pt idx="416">
                  <c:v>82.952743418966406</c:v>
                </c:pt>
                <c:pt idx="417">
                  <c:v>83.078772096776788</c:v>
                </c:pt>
                <c:pt idx="418">
                  <c:v>82.716543976501981</c:v>
                </c:pt>
                <c:pt idx="419">
                  <c:v>83.302452134123129</c:v>
                </c:pt>
                <c:pt idx="420">
                  <c:v>84.393309629919315</c:v>
                </c:pt>
                <c:pt idx="421">
                  <c:v>83.695561453574342</c:v>
                </c:pt>
                <c:pt idx="422">
                  <c:v>85.161166474662096</c:v>
                </c:pt>
                <c:pt idx="423">
                  <c:v>86.03084781411529</c:v>
                </c:pt>
                <c:pt idx="424">
                  <c:v>85.623549835577535</c:v>
                </c:pt>
                <c:pt idx="425">
                  <c:v>85.772948069452951</c:v>
                </c:pt>
                <c:pt idx="426">
                  <c:v>83.830771028363245</c:v>
                </c:pt>
                <c:pt idx="427">
                  <c:v>83.739796684802414</c:v>
                </c:pt>
                <c:pt idx="428">
                  <c:v>84.996744954665232</c:v>
                </c:pt>
                <c:pt idx="429">
                  <c:v>84.997579581700137</c:v>
                </c:pt>
                <c:pt idx="430">
                  <c:v>88.294356252188649</c:v>
                </c:pt>
                <c:pt idx="431">
                  <c:v>89.265027459216057</c:v>
                </c:pt>
                <c:pt idx="432">
                  <c:v>89.72407231209327</c:v>
                </c:pt>
                <c:pt idx="433">
                  <c:v>89.564658554103133</c:v>
                </c:pt>
                <c:pt idx="434">
                  <c:v>88.634049443230651</c:v>
                </c:pt>
                <c:pt idx="435">
                  <c:v>87.091658737668624</c:v>
                </c:pt>
                <c:pt idx="436">
                  <c:v>87.183467708264331</c:v>
                </c:pt>
                <c:pt idx="437">
                  <c:v>87.498956716206379</c:v>
                </c:pt>
                <c:pt idx="438">
                  <c:v>87.830303637304738</c:v>
                </c:pt>
                <c:pt idx="439">
                  <c:v>87.135893968998019</c:v>
                </c:pt>
                <c:pt idx="440">
                  <c:v>88.948703824239132</c:v>
                </c:pt>
                <c:pt idx="441">
                  <c:v>88.998781444508793</c:v>
                </c:pt>
                <c:pt idx="442">
                  <c:v>89.061378469896525</c:v>
                </c:pt>
                <c:pt idx="443">
                  <c:v>89.657302151632393</c:v>
                </c:pt>
                <c:pt idx="444">
                  <c:v>89.967783397567729</c:v>
                </c:pt>
                <c:pt idx="445">
                  <c:v>87.453886857943417</c:v>
                </c:pt>
                <c:pt idx="446">
                  <c:v>85.041814812928209</c:v>
                </c:pt>
                <c:pt idx="447">
                  <c:v>83.497754853296399</c:v>
                </c:pt>
                <c:pt idx="448">
                  <c:v>83.745639073844004</c:v>
                </c:pt>
                <c:pt idx="449">
                  <c:v>87.6917555543763</c:v>
                </c:pt>
                <c:pt idx="450">
                  <c:v>89.30091642039919</c:v>
                </c:pt>
                <c:pt idx="451">
                  <c:v>90.289949421586286</c:v>
                </c:pt>
                <c:pt idx="452">
                  <c:v>89.447810773372581</c:v>
                </c:pt>
                <c:pt idx="453">
                  <c:v>89.684844842770573</c:v>
                </c:pt>
                <c:pt idx="454">
                  <c:v>86.922229455665061</c:v>
                </c:pt>
                <c:pt idx="455">
                  <c:v>90.244879563323309</c:v>
                </c:pt>
                <c:pt idx="456">
                  <c:v>91.410018862590434</c:v>
                </c:pt>
                <c:pt idx="457">
                  <c:v>92.779641778110673</c:v>
                </c:pt>
                <c:pt idx="458">
                  <c:v>92.583504431801174</c:v>
                </c:pt>
                <c:pt idx="459">
                  <c:v>92.530922930528163</c:v>
                </c:pt>
                <c:pt idx="460">
                  <c:v>92.158679286239959</c:v>
                </c:pt>
                <c:pt idx="461">
                  <c:v>91.930826113820487</c:v>
                </c:pt>
                <c:pt idx="462">
                  <c:v>92.441617840935805</c:v>
                </c:pt>
                <c:pt idx="463">
                  <c:v>92.195402874457983</c:v>
                </c:pt>
                <c:pt idx="464">
                  <c:v>93.642646101386049</c:v>
                </c:pt>
                <c:pt idx="465">
                  <c:v>94.428030113354922</c:v>
                </c:pt>
                <c:pt idx="466">
                  <c:v>94.153437828602705</c:v>
                </c:pt>
                <c:pt idx="467">
                  <c:v>94.746023002300319</c:v>
                </c:pt>
                <c:pt idx="468">
                  <c:v>93.631795950337775</c:v>
                </c:pt>
                <c:pt idx="469">
                  <c:v>93.062580332806505</c:v>
                </c:pt>
                <c:pt idx="470">
                  <c:v>93.484901597465694</c:v>
                </c:pt>
                <c:pt idx="471">
                  <c:v>94.39297577910537</c:v>
                </c:pt>
                <c:pt idx="472">
                  <c:v>93.647653863494071</c:v>
                </c:pt>
                <c:pt idx="473">
                  <c:v>93.075099737924589</c:v>
                </c:pt>
                <c:pt idx="474">
                  <c:v>92.010115679298124</c:v>
                </c:pt>
                <c:pt idx="475">
                  <c:v>93.347188141572133</c:v>
                </c:pt>
                <c:pt idx="476">
                  <c:v>93.797886724404407</c:v>
                </c:pt>
                <c:pt idx="477">
                  <c:v>93.24369439299457</c:v>
                </c:pt>
                <c:pt idx="478">
                  <c:v>92.973275243315484</c:v>
                </c:pt>
                <c:pt idx="479">
                  <c:v>95.223429649235882</c:v>
                </c:pt>
                <c:pt idx="480">
                  <c:v>96.14235398202517</c:v>
                </c:pt>
                <c:pt idx="481">
                  <c:v>96.111472782747427</c:v>
                </c:pt>
                <c:pt idx="482">
                  <c:v>96.954446057996009</c:v>
                </c:pt>
                <c:pt idx="483">
                  <c:v>97.682240806583835</c:v>
                </c:pt>
                <c:pt idx="484">
                  <c:v>97.033735623473632</c:v>
                </c:pt>
                <c:pt idx="485">
                  <c:v>98.444255262285026</c:v>
                </c:pt>
                <c:pt idx="486">
                  <c:v>97.597108852064608</c:v>
                </c:pt>
                <c:pt idx="487">
                  <c:v>96.271721167772455</c:v>
                </c:pt>
                <c:pt idx="488">
                  <c:v>96.397749845582823</c:v>
                </c:pt>
                <c:pt idx="489">
                  <c:v>96.04553724942275</c:v>
                </c:pt>
                <c:pt idx="490">
                  <c:v>97.042916520553462</c:v>
                </c:pt>
                <c:pt idx="491">
                  <c:v>96.269217286769106</c:v>
                </c:pt>
                <c:pt idx="492">
                  <c:v>96.874321865483495</c:v>
                </c:pt>
                <c:pt idx="493">
                  <c:v>94.771061812435164</c:v>
                </c:pt>
                <c:pt idx="494">
                  <c:v>94.934648705498432</c:v>
                </c:pt>
                <c:pt idx="495">
                  <c:v>93.300449029340712</c:v>
                </c:pt>
                <c:pt idx="496">
                  <c:v>94.166791860654357</c:v>
                </c:pt>
                <c:pt idx="497">
                  <c:v>94.509823559835908</c:v>
                </c:pt>
                <c:pt idx="498">
                  <c:v>94.177642011803954</c:v>
                </c:pt>
                <c:pt idx="499">
                  <c:v>93.459028160295958</c:v>
                </c:pt>
                <c:pt idx="500">
                  <c:v>94.687599111884396</c:v>
                </c:pt>
                <c:pt idx="501">
                  <c:v>93.597576243123086</c:v>
                </c:pt>
                <c:pt idx="502">
                  <c:v>92.701186839566603</c:v>
                </c:pt>
                <c:pt idx="503">
                  <c:v>92.370674545503135</c:v>
                </c:pt>
                <c:pt idx="504">
                  <c:v>93.018345101578433</c:v>
                </c:pt>
                <c:pt idx="505">
                  <c:v>92.45497187308878</c:v>
                </c:pt>
                <c:pt idx="506">
                  <c:v>92.909008963857957</c:v>
                </c:pt>
                <c:pt idx="507">
                  <c:v>94.448895788416621</c:v>
                </c:pt>
                <c:pt idx="508">
                  <c:v>95.644081659926599</c:v>
                </c:pt>
                <c:pt idx="509">
                  <c:v>95.54809955425776</c:v>
                </c:pt>
                <c:pt idx="510">
                  <c:v>94.477273106589692</c:v>
                </c:pt>
                <c:pt idx="511">
                  <c:v>93.925584656183219</c:v>
                </c:pt>
                <c:pt idx="512">
                  <c:v>92.304739012077135</c:v>
                </c:pt>
                <c:pt idx="513">
                  <c:v>92.540103827607993</c:v>
                </c:pt>
                <c:pt idx="514">
                  <c:v>91.775585490802158</c:v>
                </c:pt>
                <c:pt idx="515">
                  <c:v>92.727060276736324</c:v>
                </c:pt>
                <c:pt idx="516">
                  <c:v>91.786435641850446</c:v>
                </c:pt>
                <c:pt idx="517">
                  <c:v>92.51005725536514</c:v>
                </c:pt>
                <c:pt idx="518">
                  <c:v>92.568481145781078</c:v>
                </c:pt>
                <c:pt idx="519">
                  <c:v>93.082611380934637</c:v>
                </c:pt>
                <c:pt idx="520">
                  <c:v>93.181097367606824</c:v>
                </c:pt>
                <c:pt idx="521">
                  <c:v>92.353982005413243</c:v>
                </c:pt>
                <c:pt idx="522">
                  <c:v>92.745422070895984</c:v>
                </c:pt>
                <c:pt idx="523">
                  <c:v>90.915085048428793</c:v>
                </c:pt>
                <c:pt idx="524">
                  <c:v>90.311649723682862</c:v>
                </c:pt>
                <c:pt idx="525">
                  <c:v>90.067938638208403</c:v>
                </c:pt>
                <c:pt idx="526">
                  <c:v>89.926886674276602</c:v>
                </c:pt>
                <c:pt idx="527">
                  <c:v>89.844258600760725</c:v>
                </c:pt>
                <c:pt idx="528">
                  <c:v>89.669821556750463</c:v>
                </c:pt>
                <c:pt idx="529">
                  <c:v>88.981254277485334</c:v>
                </c:pt>
                <c:pt idx="530">
                  <c:v>87.277780559863388</c:v>
                </c:pt>
                <c:pt idx="531">
                  <c:v>88.705827365698227</c:v>
                </c:pt>
                <c:pt idx="532">
                  <c:v>88.869414258761509</c:v>
                </c:pt>
                <c:pt idx="533">
                  <c:v>89.687348723875246</c:v>
                </c:pt>
                <c:pt idx="534">
                  <c:v>90.171432386887275</c:v>
                </c:pt>
                <c:pt idx="535">
                  <c:v>90.97601281984808</c:v>
                </c:pt>
                <c:pt idx="536">
                  <c:v>90.658019930902654</c:v>
                </c:pt>
                <c:pt idx="537">
                  <c:v>90.386766154188692</c:v>
                </c:pt>
                <c:pt idx="538">
                  <c:v>90.688066503044197</c:v>
                </c:pt>
                <c:pt idx="539">
                  <c:v>92.675313402396881</c:v>
                </c:pt>
                <c:pt idx="540">
                  <c:v>92.235464970714247</c:v>
                </c:pt>
                <c:pt idx="541">
                  <c:v>92.278030947973861</c:v>
                </c:pt>
                <c:pt idx="542">
                  <c:v>92.237134224682691</c:v>
                </c:pt>
                <c:pt idx="543">
                  <c:v>93.010833458467062</c:v>
                </c:pt>
                <c:pt idx="544">
                  <c:v>93.184435875543741</c:v>
                </c:pt>
                <c:pt idx="545">
                  <c:v>93.043383911713264</c:v>
                </c:pt>
                <c:pt idx="546">
                  <c:v>92.791326556092528</c:v>
                </c:pt>
                <c:pt idx="547">
                  <c:v>93.953127347321399</c:v>
                </c:pt>
                <c:pt idx="548">
                  <c:v>94.455572804493102</c:v>
                </c:pt>
                <c:pt idx="549">
                  <c:v>94.826147194812833</c:v>
                </c:pt>
                <c:pt idx="550">
                  <c:v>94.70011851700248</c:v>
                </c:pt>
                <c:pt idx="551">
                  <c:v>94.291985911429833</c:v>
                </c:pt>
                <c:pt idx="552">
                  <c:v>94.580766855268578</c:v>
                </c:pt>
                <c:pt idx="553">
                  <c:v>95.064850518280608</c:v>
                </c:pt>
                <c:pt idx="554">
                  <c:v>95.271838015537085</c:v>
                </c:pt>
                <c:pt idx="555">
                  <c:v>95.129951424671702</c:v>
                </c:pt>
                <c:pt idx="556">
                  <c:v>95.18837531508764</c:v>
                </c:pt>
                <c:pt idx="557">
                  <c:v>95.573972991427482</c:v>
                </c:pt>
                <c:pt idx="558">
                  <c:v>94.641694626687865</c:v>
                </c:pt>
                <c:pt idx="559">
                  <c:v>94.852855258916151</c:v>
                </c:pt>
                <c:pt idx="560">
                  <c:v>97.330028210322453</c:v>
                </c:pt>
                <c:pt idx="561">
                  <c:v>97.039578012515221</c:v>
                </c:pt>
                <c:pt idx="562">
                  <c:v>97.318343432340569</c:v>
                </c:pt>
                <c:pt idx="563">
                  <c:v>96.47370090302222</c:v>
                </c:pt>
                <c:pt idx="564">
                  <c:v>96.13901547398693</c:v>
                </c:pt>
                <c:pt idx="565">
                  <c:v>97.081309362841267</c:v>
                </c:pt>
                <c:pt idx="566">
                  <c:v>96.755804830784484</c:v>
                </c:pt>
                <c:pt idx="567">
                  <c:v>96.734939155621475</c:v>
                </c:pt>
                <c:pt idx="568">
                  <c:v>96.720750496534933</c:v>
                </c:pt>
                <c:pt idx="569">
                  <c:v>96.446158211884025</c:v>
                </c:pt>
                <c:pt idx="570">
                  <c:v>96.406096115627776</c:v>
                </c:pt>
                <c:pt idx="571">
                  <c:v>97.527000183565505</c:v>
                </c:pt>
                <c:pt idx="572">
                  <c:v>97.446875991052977</c:v>
                </c:pt>
                <c:pt idx="573">
                  <c:v>97.77905753918624</c:v>
                </c:pt>
                <c:pt idx="574">
                  <c:v>96.899360675719635</c:v>
                </c:pt>
                <c:pt idx="575">
                  <c:v>96.466189260012172</c:v>
                </c:pt>
                <c:pt idx="576">
                  <c:v>96.856794698460021</c:v>
                </c:pt>
                <c:pt idx="577">
                  <c:v>96.970303971152319</c:v>
                </c:pt>
                <c:pt idx="578">
                  <c:v>97.11385981598616</c:v>
                </c:pt>
                <c:pt idx="579">
                  <c:v>97.44353748311606</c:v>
                </c:pt>
                <c:pt idx="580">
                  <c:v>96.811724840095749</c:v>
                </c:pt>
                <c:pt idx="581">
                  <c:v>95.953728278827057</c:v>
                </c:pt>
                <c:pt idx="582">
                  <c:v>96.457842989967219</c:v>
                </c:pt>
                <c:pt idx="583">
                  <c:v>93.972323768515977</c:v>
                </c:pt>
                <c:pt idx="584">
                  <c:v>94.770227185400273</c:v>
                </c:pt>
                <c:pt idx="585">
                  <c:v>94.124225883394743</c:v>
                </c:pt>
                <c:pt idx="586">
                  <c:v>93.832941058653958</c:v>
                </c:pt>
                <c:pt idx="587">
                  <c:v>94.709299414082309</c:v>
                </c:pt>
                <c:pt idx="588">
                  <c:v>94.39881816814696</c:v>
                </c:pt>
                <c:pt idx="589">
                  <c:v>94.736007478185599</c:v>
                </c:pt>
                <c:pt idx="590">
                  <c:v>95.064850518280608</c:v>
                </c:pt>
                <c:pt idx="591">
                  <c:v>94.241073664125281</c:v>
                </c:pt>
                <c:pt idx="592">
                  <c:v>94.05745572303519</c:v>
                </c:pt>
                <c:pt idx="593">
                  <c:v>94.220207989063582</c:v>
                </c:pt>
                <c:pt idx="594">
                  <c:v>95.307726976821527</c:v>
                </c:pt>
                <c:pt idx="595">
                  <c:v>94.598294022393375</c:v>
                </c:pt>
                <c:pt idx="596">
                  <c:v>92.293888861028861</c:v>
                </c:pt>
                <c:pt idx="597">
                  <c:v>94.074148263125082</c:v>
                </c:pt>
                <c:pt idx="598">
                  <c:v>94.753534645310381</c:v>
                </c:pt>
                <c:pt idx="599">
                  <c:v>92.530088303493272</c:v>
                </c:pt>
                <c:pt idx="600">
                  <c:v>94.061628858006998</c:v>
                </c:pt>
                <c:pt idx="601">
                  <c:v>94.725991954172201</c:v>
                </c:pt>
                <c:pt idx="602">
                  <c:v>93.731116563943516</c:v>
                </c:pt>
                <c:pt idx="603">
                  <c:v>93.679369689705396</c:v>
                </c:pt>
                <c:pt idx="604">
                  <c:v>95.298546079741683</c:v>
                </c:pt>
                <c:pt idx="605">
                  <c:v>95.1850368070494</c:v>
                </c:pt>
                <c:pt idx="606">
                  <c:v>95.609027325677047</c:v>
                </c:pt>
                <c:pt idx="607">
                  <c:v>97.106348172976098</c:v>
                </c:pt>
                <c:pt idx="608">
                  <c:v>96.929407247861178</c:v>
                </c:pt>
                <c:pt idx="609">
                  <c:v>97.102175037902967</c:v>
                </c:pt>
                <c:pt idx="610">
                  <c:v>97.027893234533352</c:v>
                </c:pt>
                <c:pt idx="611">
                  <c:v>98.692139482832616</c:v>
                </c:pt>
                <c:pt idx="612">
                  <c:v>98.606172901278498</c:v>
                </c:pt>
                <c:pt idx="613">
                  <c:v>97.911763232971765</c:v>
                </c:pt>
                <c:pt idx="614">
                  <c:v>97.13222161014582</c:v>
                </c:pt>
                <c:pt idx="615">
                  <c:v>98.369138831779196</c:v>
                </c:pt>
                <c:pt idx="616">
                  <c:v>97.910928605936888</c:v>
                </c:pt>
                <c:pt idx="617">
                  <c:v>97.888393676805393</c:v>
                </c:pt>
                <c:pt idx="618">
                  <c:v>97.128883102107594</c:v>
                </c:pt>
                <c:pt idx="619">
                  <c:v>96.858463952428494</c:v>
                </c:pt>
                <c:pt idx="620">
                  <c:v>95.512210593074627</c:v>
                </c:pt>
                <c:pt idx="621">
                  <c:v>95.772614218638992</c:v>
                </c:pt>
                <c:pt idx="622">
                  <c:v>97.4093177759014</c:v>
                </c:pt>
                <c:pt idx="623">
                  <c:v>95.746740781469271</c:v>
                </c:pt>
                <c:pt idx="624">
                  <c:v>95.51721835508134</c:v>
                </c:pt>
                <c:pt idx="625">
                  <c:v>94.789423606594823</c:v>
                </c:pt>
                <c:pt idx="626">
                  <c:v>94.722653446133947</c:v>
                </c:pt>
                <c:pt idx="627">
                  <c:v>95.375331764215971</c:v>
                </c:pt>
                <c:pt idx="628">
                  <c:v>97.587093327949887</c:v>
                </c:pt>
                <c:pt idx="629">
                  <c:v>98.268983591239873</c:v>
                </c:pt>
                <c:pt idx="630">
                  <c:v>97.567896906856646</c:v>
                </c:pt>
                <c:pt idx="631">
                  <c:v>96.870148730511673</c:v>
                </c:pt>
                <c:pt idx="632">
                  <c:v>95.982940224035019</c:v>
                </c:pt>
                <c:pt idx="633">
                  <c:v>94.685095230881061</c:v>
                </c:pt>
                <c:pt idx="634">
                  <c:v>94.337890396727673</c:v>
                </c:pt>
                <c:pt idx="635">
                  <c:v>94.559066553172002</c:v>
                </c:pt>
                <c:pt idx="636">
                  <c:v>95.409551471430632</c:v>
                </c:pt>
                <c:pt idx="637">
                  <c:v>97.802427095352613</c:v>
                </c:pt>
                <c:pt idx="638">
                  <c:v>98.883269067034078</c:v>
                </c:pt>
                <c:pt idx="639">
                  <c:v>99.509239320911476</c:v>
                </c:pt>
                <c:pt idx="640">
                  <c:v>99.007628490774664</c:v>
                </c:pt>
                <c:pt idx="641">
                  <c:v>100.18445256812495</c:v>
                </c:pt>
                <c:pt idx="642">
                  <c:v>99.79718563771533</c:v>
                </c:pt>
                <c:pt idx="643">
                  <c:v>99.767973692507383</c:v>
                </c:pt>
                <c:pt idx="644">
                  <c:v>99.55263992520598</c:v>
                </c:pt>
                <c:pt idx="645">
                  <c:v>101.0307643514118</c:v>
                </c:pt>
                <c:pt idx="646">
                  <c:v>100.85215417222709</c:v>
                </c:pt>
                <c:pt idx="647">
                  <c:v>100.91391657068127</c:v>
                </c:pt>
                <c:pt idx="648">
                  <c:v>101.2953411120493</c:v>
                </c:pt>
                <c:pt idx="649">
                  <c:v>101.02241808136685</c:v>
                </c:pt>
                <c:pt idx="650">
                  <c:v>101.56492563509877</c:v>
                </c:pt>
                <c:pt idx="651">
                  <c:v>101.67426177221135</c:v>
                </c:pt>
                <c:pt idx="652">
                  <c:v>101.94050778661466</c:v>
                </c:pt>
                <c:pt idx="653">
                  <c:v>101.90962658814749</c:v>
                </c:pt>
                <c:pt idx="654">
                  <c:v>101.87123374596099</c:v>
                </c:pt>
                <c:pt idx="655">
                  <c:v>102.17587260255078</c:v>
                </c:pt>
                <c:pt idx="656">
                  <c:v>102.68833358414118</c:v>
                </c:pt>
                <c:pt idx="657">
                  <c:v>102.74425359264188</c:v>
                </c:pt>
                <c:pt idx="658">
                  <c:v>103.05223095777652</c:v>
                </c:pt>
                <c:pt idx="659">
                  <c:v>101.17348556931205</c:v>
                </c:pt>
                <c:pt idx="660">
                  <c:v>101.02742584337354</c:v>
                </c:pt>
                <c:pt idx="661">
                  <c:v>101.98223913734597</c:v>
                </c:pt>
                <c:pt idx="662">
                  <c:v>103.59140000367282</c:v>
                </c:pt>
                <c:pt idx="663">
                  <c:v>102.13497587946227</c:v>
                </c:pt>
                <c:pt idx="664">
                  <c:v>102.52808519830556</c:v>
                </c:pt>
                <c:pt idx="665">
                  <c:v>101.32204917645655</c:v>
                </c:pt>
                <c:pt idx="666">
                  <c:v>100.46071410684564</c:v>
                </c:pt>
                <c:pt idx="667">
                  <c:v>100.62346637287405</c:v>
                </c:pt>
                <c:pt idx="668">
                  <c:v>99.2171198691358</c:v>
                </c:pt>
                <c:pt idx="669">
                  <c:v>98.28150299625662</c:v>
                </c:pt>
                <c:pt idx="670">
                  <c:v>99.733753985292722</c:v>
                </c:pt>
                <c:pt idx="671">
                  <c:v>99.533443504112739</c:v>
                </c:pt>
                <c:pt idx="672">
                  <c:v>98.653746640646148</c:v>
                </c:pt>
                <c:pt idx="673">
                  <c:v>98.044468926858627</c:v>
                </c:pt>
                <c:pt idx="674">
                  <c:v>98.184686263654214</c:v>
                </c:pt>
                <c:pt idx="675">
                  <c:v>98.435074365205182</c:v>
                </c:pt>
                <c:pt idx="676">
                  <c:v>99.398233929222528</c:v>
                </c:pt>
                <c:pt idx="677">
                  <c:v>99.485035137811522</c:v>
                </c:pt>
                <c:pt idx="678">
                  <c:v>98.950039227393631</c:v>
                </c:pt>
                <c:pt idx="679">
                  <c:v>96.012986796176563</c:v>
                </c:pt>
                <c:pt idx="680">
                  <c:v>94.598294022393375</c:v>
                </c:pt>
                <c:pt idx="681">
                  <c:v>93.084280635004419</c:v>
                </c:pt>
                <c:pt idx="682">
                  <c:v>94.266112474260098</c:v>
                </c:pt>
                <c:pt idx="683">
                  <c:v>95.874438713349434</c:v>
                </c:pt>
                <c:pt idx="684">
                  <c:v>96.355183868323209</c:v>
                </c:pt>
                <c:pt idx="685">
                  <c:v>96.181581451246529</c:v>
                </c:pt>
                <c:pt idx="686">
                  <c:v>96.48622030814029</c:v>
                </c:pt>
                <c:pt idx="687">
                  <c:v>96.035521725308044</c:v>
                </c:pt>
                <c:pt idx="688">
                  <c:v>94.861201528961075</c:v>
                </c:pt>
                <c:pt idx="689">
                  <c:v>97.074632346764773</c:v>
                </c:pt>
                <c:pt idx="690">
                  <c:v>95.624050611798467</c:v>
                </c:pt>
                <c:pt idx="691">
                  <c:v>97.047924282560174</c:v>
                </c:pt>
                <c:pt idx="692">
                  <c:v>97.75986111799169</c:v>
                </c:pt>
                <c:pt idx="693">
                  <c:v>97.783230674158062</c:v>
                </c:pt>
                <c:pt idx="694">
                  <c:v>98.727193817082181</c:v>
                </c:pt>
                <c:pt idx="695">
                  <c:v>98.215567462830634</c:v>
                </c:pt>
                <c:pt idx="696">
                  <c:v>98.685462466756121</c:v>
                </c:pt>
                <c:pt idx="697">
                  <c:v>98.410035555070337</c:v>
                </c:pt>
                <c:pt idx="698">
                  <c:v>98.773098302380021</c:v>
                </c:pt>
                <c:pt idx="699">
                  <c:v>99.874805949224523</c:v>
                </c:pt>
                <c:pt idx="700">
                  <c:v>100.27459228465089</c:v>
                </c:pt>
                <c:pt idx="701">
                  <c:v>100.09765135953597</c:v>
                </c:pt>
                <c:pt idx="702">
                  <c:v>100.85131954529352</c:v>
                </c:pt>
                <c:pt idx="703">
                  <c:v>101.58829519085985</c:v>
                </c:pt>
                <c:pt idx="704">
                  <c:v>101.2026975144187</c:v>
                </c:pt>
                <c:pt idx="705">
                  <c:v>101.68010416165821</c:v>
                </c:pt>
                <c:pt idx="706">
                  <c:v>101.44724322662411</c:v>
                </c:pt>
                <c:pt idx="707">
                  <c:v>102.12078721966651</c:v>
                </c:pt>
                <c:pt idx="708">
                  <c:v>101.90128031779857</c:v>
                </c:pt>
                <c:pt idx="709">
                  <c:v>103.04054617989595</c:v>
                </c:pt>
                <c:pt idx="710">
                  <c:v>103.38524713294466</c:v>
                </c:pt>
                <c:pt idx="711">
                  <c:v>103.40360892690168</c:v>
                </c:pt>
                <c:pt idx="712">
                  <c:v>101.98307376397557</c:v>
                </c:pt>
                <c:pt idx="713">
                  <c:v>102.06987497296987</c:v>
                </c:pt>
                <c:pt idx="714">
                  <c:v>103.3718931007917</c:v>
                </c:pt>
                <c:pt idx="715">
                  <c:v>103.78419884123483</c:v>
                </c:pt>
                <c:pt idx="716">
                  <c:v>104.05294873755338</c:v>
                </c:pt>
                <c:pt idx="717">
                  <c:v>104.79159363708818</c:v>
                </c:pt>
                <c:pt idx="718">
                  <c:v>104.87004857573356</c:v>
                </c:pt>
                <c:pt idx="719">
                  <c:v>104.3041714655313</c:v>
                </c:pt>
                <c:pt idx="720">
                  <c:v>105.15549101072352</c:v>
                </c:pt>
                <c:pt idx="721">
                  <c:v>104.23239354296241</c:v>
                </c:pt>
                <c:pt idx="722">
                  <c:v>102.7142070208043</c:v>
                </c:pt>
                <c:pt idx="723">
                  <c:v>102.2735239617828</c:v>
                </c:pt>
                <c:pt idx="724">
                  <c:v>103.40778206207615</c:v>
                </c:pt>
                <c:pt idx="725">
                  <c:v>103.89603886026262</c:v>
                </c:pt>
                <c:pt idx="726">
                  <c:v>103.47872535801544</c:v>
                </c:pt>
                <c:pt idx="727">
                  <c:v>101.21521691953677</c:v>
                </c:pt>
                <c:pt idx="728">
                  <c:v>101.84953344345911</c:v>
                </c:pt>
                <c:pt idx="729">
                  <c:v>102.12162184730931</c:v>
                </c:pt>
                <c:pt idx="730">
                  <c:v>100.77036072574612</c:v>
                </c:pt>
                <c:pt idx="731">
                  <c:v>102.2735239617828</c:v>
                </c:pt>
                <c:pt idx="732">
                  <c:v>102.29856277181631</c:v>
                </c:pt>
                <c:pt idx="733">
                  <c:v>102.42959921244395</c:v>
                </c:pt>
                <c:pt idx="734">
                  <c:v>103.47371759519814</c:v>
                </c:pt>
                <c:pt idx="735">
                  <c:v>104.48445089858316</c:v>
                </c:pt>
                <c:pt idx="736">
                  <c:v>104.38346103080629</c:v>
                </c:pt>
                <c:pt idx="737">
                  <c:v>105.90164755397763</c:v>
                </c:pt>
                <c:pt idx="738">
                  <c:v>106.60857662740241</c:v>
                </c:pt>
                <c:pt idx="739">
                  <c:v>107.27460897672552</c:v>
                </c:pt>
                <c:pt idx="740">
                  <c:v>107.44654214044166</c:v>
                </c:pt>
                <c:pt idx="741">
                  <c:v>108.10506284705868</c:v>
                </c:pt>
                <c:pt idx="742">
                  <c:v>107.81628190352389</c:v>
                </c:pt>
                <c:pt idx="743">
                  <c:v>108.17266763445311</c:v>
                </c:pt>
                <c:pt idx="744">
                  <c:v>108.58413874826664</c:v>
                </c:pt>
                <c:pt idx="745">
                  <c:v>108.62837397989999</c:v>
                </c:pt>
                <c:pt idx="746">
                  <c:v>107.71779591664902</c:v>
                </c:pt>
                <c:pt idx="747">
                  <c:v>108.62753935225717</c:v>
                </c:pt>
                <c:pt idx="748">
                  <c:v>108.75857579288481</c:v>
                </c:pt>
                <c:pt idx="749">
                  <c:v>108.96806717114463</c:v>
                </c:pt>
                <c:pt idx="750">
                  <c:v>108.90547014555423</c:v>
                </c:pt>
                <c:pt idx="751">
                  <c:v>107.90308311251815</c:v>
                </c:pt>
                <c:pt idx="752">
                  <c:v>108.90547014555423</c:v>
                </c:pt>
                <c:pt idx="753">
                  <c:v>108.29201929618702</c:v>
                </c:pt>
                <c:pt idx="754">
                  <c:v>107.74366935432536</c:v>
                </c:pt>
                <c:pt idx="755">
                  <c:v>108.53406112819961</c:v>
                </c:pt>
                <c:pt idx="756">
                  <c:v>108.42555961771664</c:v>
                </c:pt>
                <c:pt idx="757">
                  <c:v>108.65758592510795</c:v>
                </c:pt>
                <c:pt idx="758">
                  <c:v>108.84454237423628</c:v>
                </c:pt>
                <c:pt idx="759">
                  <c:v>111.06381558037232</c:v>
                </c:pt>
                <c:pt idx="760">
                  <c:v>110.53800056764219</c:v>
                </c:pt>
                <c:pt idx="761">
                  <c:v>110.93110988648549</c:v>
                </c:pt>
                <c:pt idx="762">
                  <c:v>112.26233996052848</c:v>
                </c:pt>
                <c:pt idx="763">
                  <c:v>113.72377184654307</c:v>
                </c:pt>
                <c:pt idx="764">
                  <c:v>113.18710668154878</c:v>
                </c:pt>
                <c:pt idx="765">
                  <c:v>113.94077486750898</c:v>
                </c:pt>
                <c:pt idx="766">
                  <c:v>114.19700535830417</c:v>
                </c:pt>
                <c:pt idx="767">
                  <c:v>114.54754870079975</c:v>
                </c:pt>
                <c:pt idx="768">
                  <c:v>113.35152820154563</c:v>
                </c:pt>
                <c:pt idx="769">
                  <c:v>114.22621730351214</c:v>
                </c:pt>
                <c:pt idx="770">
                  <c:v>113.52596524616381</c:v>
                </c:pt>
                <c:pt idx="771">
                  <c:v>113.27307326391347</c:v>
                </c:pt>
                <c:pt idx="772">
                  <c:v>114.42986629232507</c:v>
                </c:pt>
                <c:pt idx="773">
                  <c:v>113.56185420744826</c:v>
                </c:pt>
                <c:pt idx="774">
                  <c:v>113.81725007060066</c:v>
                </c:pt>
                <c:pt idx="775">
                  <c:v>113.4358255296379</c:v>
                </c:pt>
                <c:pt idx="776">
                  <c:v>113.9007127710501</c:v>
                </c:pt>
                <c:pt idx="777">
                  <c:v>113.13285592630733</c:v>
                </c:pt>
                <c:pt idx="778">
                  <c:v>113.93242859716008</c:v>
                </c:pt>
                <c:pt idx="779">
                  <c:v>112.66045704218904</c:v>
                </c:pt>
                <c:pt idx="780">
                  <c:v>112.59368688142419</c:v>
                </c:pt>
                <c:pt idx="781">
                  <c:v>113.2680655010962</c:v>
                </c:pt>
                <c:pt idx="782">
                  <c:v>112.88413707923142</c:v>
                </c:pt>
                <c:pt idx="783">
                  <c:v>112.67798420850326</c:v>
                </c:pt>
                <c:pt idx="784">
                  <c:v>113.36488223369861</c:v>
                </c:pt>
                <c:pt idx="785">
                  <c:v>113.40911746533196</c:v>
                </c:pt>
                <c:pt idx="786">
                  <c:v>114.58761079624544</c:v>
                </c:pt>
                <c:pt idx="787">
                  <c:v>113.84646201580861</c:v>
                </c:pt>
                <c:pt idx="788">
                  <c:v>113.60859331998365</c:v>
                </c:pt>
                <c:pt idx="789">
                  <c:v>113.96080591573843</c:v>
                </c:pt>
                <c:pt idx="790">
                  <c:v>114.12021967393122</c:v>
                </c:pt>
                <c:pt idx="791">
                  <c:v>114.5033134691664</c:v>
                </c:pt>
                <c:pt idx="792">
                  <c:v>113.97165606698938</c:v>
                </c:pt>
                <c:pt idx="793">
                  <c:v>114.62183050427069</c:v>
                </c:pt>
                <c:pt idx="794">
                  <c:v>115.0808753572492</c:v>
                </c:pt>
                <c:pt idx="795">
                  <c:v>115.31457091789972</c:v>
                </c:pt>
                <c:pt idx="796">
                  <c:v>114.47744003250328</c:v>
                </c:pt>
                <c:pt idx="797">
                  <c:v>112.02780977223516</c:v>
                </c:pt>
                <c:pt idx="798">
                  <c:v>111.1572938054431</c:v>
                </c:pt>
                <c:pt idx="799">
                  <c:v>109.94958852932166</c:v>
                </c:pt>
                <c:pt idx="800">
                  <c:v>110.31348590295697</c:v>
                </c:pt>
                <c:pt idx="801">
                  <c:v>110.68406029368201</c:v>
                </c:pt>
                <c:pt idx="802">
                  <c:v>110.07478257948921</c:v>
                </c:pt>
                <c:pt idx="803">
                  <c:v>109.16170063634945</c:v>
                </c:pt>
                <c:pt idx="804">
                  <c:v>108.32373512229698</c:v>
                </c:pt>
                <c:pt idx="805">
                  <c:v>108.09755120435258</c:v>
                </c:pt>
                <c:pt idx="806">
                  <c:v>109.67082310939497</c:v>
                </c:pt>
                <c:pt idx="807">
                  <c:v>108.81449580138552</c:v>
                </c:pt>
                <c:pt idx="808">
                  <c:v>109.55147144766111</c:v>
                </c:pt>
                <c:pt idx="809">
                  <c:v>111.4610980354033</c:v>
                </c:pt>
                <c:pt idx="810">
                  <c:v>112.08206052747663</c:v>
                </c:pt>
                <c:pt idx="811">
                  <c:v>112.76395078985473</c:v>
                </c:pt>
                <c:pt idx="812">
                  <c:v>113.02018128064989</c:v>
                </c:pt>
                <c:pt idx="813">
                  <c:v>114.50247884253677</c:v>
                </c:pt>
                <c:pt idx="814">
                  <c:v>114.39815046621509</c:v>
                </c:pt>
                <c:pt idx="815">
                  <c:v>114.65688483791232</c:v>
                </c:pt>
                <c:pt idx="816">
                  <c:v>112.85325587975103</c:v>
                </c:pt>
                <c:pt idx="817">
                  <c:v>113.52846912706585</c:v>
                </c:pt>
                <c:pt idx="818">
                  <c:v>113.58188525567772</c:v>
                </c:pt>
                <c:pt idx="819">
                  <c:v>114.77456724537379</c:v>
                </c:pt>
                <c:pt idx="820">
                  <c:v>114.71447410169861</c:v>
                </c:pt>
                <c:pt idx="821">
                  <c:v>114.66940424343568</c:v>
                </c:pt>
                <c:pt idx="822">
                  <c:v>115.49401572432194</c:v>
                </c:pt>
                <c:pt idx="823">
                  <c:v>116.05405044507732</c:v>
                </c:pt>
                <c:pt idx="824">
                  <c:v>116.76431802603378</c:v>
                </c:pt>
                <c:pt idx="825">
                  <c:v>118.80831956193525</c:v>
                </c:pt>
                <c:pt idx="826">
                  <c:v>118.43440666367857</c:v>
                </c:pt>
                <c:pt idx="827">
                  <c:v>118.6280401288834</c:v>
                </c:pt>
                <c:pt idx="828">
                  <c:v>118.76158044939984</c:v>
                </c:pt>
                <c:pt idx="829">
                  <c:v>118.10055586188082</c:v>
                </c:pt>
                <c:pt idx="830">
                  <c:v>117.83430984646431</c:v>
                </c:pt>
                <c:pt idx="831">
                  <c:v>117.32685662769117</c:v>
                </c:pt>
                <c:pt idx="832">
                  <c:v>114.86136845436808</c:v>
                </c:pt>
                <c:pt idx="833">
                  <c:v>114.27629492357916</c:v>
                </c:pt>
                <c:pt idx="834">
                  <c:v>114.83549501770494</c:v>
                </c:pt>
                <c:pt idx="835">
                  <c:v>114.31719164666767</c:v>
                </c:pt>
                <c:pt idx="836">
                  <c:v>115.08838699995529</c:v>
                </c:pt>
                <c:pt idx="837">
                  <c:v>114.57926452690974</c:v>
                </c:pt>
                <c:pt idx="838">
                  <c:v>113.02769292436921</c:v>
                </c:pt>
                <c:pt idx="839">
                  <c:v>113.0602433771088</c:v>
                </c:pt>
                <c:pt idx="840">
                  <c:v>113.03270068617329</c:v>
                </c:pt>
                <c:pt idx="841">
                  <c:v>115.07920610297677</c:v>
                </c:pt>
                <c:pt idx="842">
                  <c:v>115.87794414719991</c:v>
                </c:pt>
                <c:pt idx="843">
                  <c:v>115.80700085126064</c:v>
                </c:pt>
                <c:pt idx="844">
                  <c:v>117.37693424775821</c:v>
                </c:pt>
                <c:pt idx="845">
                  <c:v>117.9553307624706</c:v>
                </c:pt>
                <c:pt idx="846">
                  <c:v>118.45026457673357</c:v>
                </c:pt>
                <c:pt idx="847">
                  <c:v>119.40507787060469</c:v>
                </c:pt>
                <c:pt idx="848">
                  <c:v>119.55531073181895</c:v>
                </c:pt>
                <c:pt idx="849">
                  <c:v>119.73559016487079</c:v>
                </c:pt>
                <c:pt idx="850">
                  <c:v>119.61206536796244</c:v>
                </c:pt>
                <c:pt idx="851">
                  <c:v>119.60121521671152</c:v>
                </c:pt>
                <c:pt idx="852">
                  <c:v>120.42749595187021</c:v>
                </c:pt>
                <c:pt idx="853">
                  <c:v>121.72200243698595</c:v>
                </c:pt>
                <c:pt idx="854">
                  <c:v>121.77041080379377</c:v>
                </c:pt>
                <c:pt idx="855">
                  <c:v>120.88654080484874</c:v>
                </c:pt>
                <c:pt idx="856">
                  <c:v>120.3298445926382</c:v>
                </c:pt>
                <c:pt idx="857">
                  <c:v>120.60527150402002</c:v>
                </c:pt>
                <c:pt idx="858">
                  <c:v>117.67155758073986</c:v>
                </c:pt>
                <c:pt idx="859">
                  <c:v>120.33902548961673</c:v>
                </c:pt>
                <c:pt idx="860">
                  <c:v>120.54350910607248</c:v>
                </c:pt>
                <c:pt idx="861">
                  <c:v>122.33712253961242</c:v>
                </c:pt>
                <c:pt idx="862">
                  <c:v>121.07933964342395</c:v>
                </c:pt>
                <c:pt idx="863">
                  <c:v>121.83634633691578</c:v>
                </c:pt>
                <c:pt idx="864">
                  <c:v>121.55591166271667</c:v>
                </c:pt>
                <c:pt idx="865">
                  <c:v>120.81309362800741</c:v>
                </c:pt>
                <c:pt idx="866">
                  <c:v>118.533727277183</c:v>
                </c:pt>
                <c:pt idx="867">
                  <c:v>117.72330445507933</c:v>
                </c:pt>
                <c:pt idx="868">
                  <c:v>119.25985277220768</c:v>
                </c:pt>
                <c:pt idx="869">
                  <c:v>120.14706127868433</c:v>
                </c:pt>
                <c:pt idx="870">
                  <c:v>119.8407531678221</c:v>
                </c:pt>
                <c:pt idx="871">
                  <c:v>120.25138965399282</c:v>
                </c:pt>
                <c:pt idx="872">
                  <c:v>119.95843557528356</c:v>
                </c:pt>
                <c:pt idx="873">
                  <c:v>118.73403775846431</c:v>
                </c:pt>
                <c:pt idx="874">
                  <c:v>120.28811324190687</c:v>
                </c:pt>
                <c:pt idx="875">
                  <c:v>121.72116781035633</c:v>
                </c:pt>
                <c:pt idx="876">
                  <c:v>121.72951407969204</c:v>
                </c:pt>
                <c:pt idx="877">
                  <c:v>123.1867728315454</c:v>
                </c:pt>
                <c:pt idx="878">
                  <c:v>123.23851970588484</c:v>
                </c:pt>
                <c:pt idx="879">
                  <c:v>124.60981187537352</c:v>
                </c:pt>
                <c:pt idx="880">
                  <c:v>124.59061545377369</c:v>
                </c:pt>
                <c:pt idx="881">
                  <c:v>124.65237785273446</c:v>
                </c:pt>
                <c:pt idx="882">
                  <c:v>125.23244362070609</c:v>
                </c:pt>
                <c:pt idx="883">
                  <c:v>124.28681122381352</c:v>
                </c:pt>
                <c:pt idx="884">
                  <c:v>123.16841103657516</c:v>
                </c:pt>
                <c:pt idx="885">
                  <c:v>124.07147745712001</c:v>
                </c:pt>
                <c:pt idx="886">
                  <c:v>123.33533643848726</c:v>
                </c:pt>
                <c:pt idx="887">
                  <c:v>122.28704491954538</c:v>
                </c:pt>
                <c:pt idx="888">
                  <c:v>122.99147011206817</c:v>
                </c:pt>
                <c:pt idx="889">
                  <c:v>121.66024003903837</c:v>
                </c:pt>
                <c:pt idx="890">
                  <c:v>123.28358956414782</c:v>
                </c:pt>
                <c:pt idx="891">
                  <c:v>124.1490977681226</c:v>
                </c:pt>
                <c:pt idx="892">
                  <c:v>125.9393726941309</c:v>
                </c:pt>
                <c:pt idx="893">
                  <c:v>125.50035888938183</c:v>
                </c:pt>
                <c:pt idx="894">
                  <c:v>126.26320797232053</c:v>
                </c:pt>
                <c:pt idx="895">
                  <c:v>125.19738928706445</c:v>
                </c:pt>
                <c:pt idx="896">
                  <c:v>125.76076251535146</c:v>
                </c:pt>
                <c:pt idx="897">
                  <c:v>127.69960104830164</c:v>
                </c:pt>
                <c:pt idx="898">
                  <c:v>128.06266379530734</c:v>
                </c:pt>
                <c:pt idx="899">
                  <c:v>128.06266379530734</c:v>
                </c:pt>
                <c:pt idx="900">
                  <c:v>127.86318794166887</c:v>
                </c:pt>
                <c:pt idx="901">
                  <c:v>127.85484167131995</c:v>
                </c:pt>
                <c:pt idx="902">
                  <c:v>127.20466723403867</c:v>
                </c:pt>
                <c:pt idx="903">
                  <c:v>127.71462433472702</c:v>
                </c:pt>
                <c:pt idx="904">
                  <c:v>129.1743869664692</c:v>
                </c:pt>
                <c:pt idx="905">
                  <c:v>129.0208155977233</c:v>
                </c:pt>
                <c:pt idx="906">
                  <c:v>130.02320263075939</c:v>
                </c:pt>
                <c:pt idx="907">
                  <c:v>130.392107767212</c:v>
                </c:pt>
                <c:pt idx="908">
                  <c:v>130.35538417828474</c:v>
                </c:pt>
                <c:pt idx="909">
                  <c:v>128.91064483296793</c:v>
                </c:pt>
                <c:pt idx="910">
                  <c:v>129.19441801469867</c:v>
                </c:pt>
                <c:pt idx="911">
                  <c:v>129.9756288915944</c:v>
                </c:pt>
                <c:pt idx="912">
                  <c:v>129.80119184697622</c:v>
                </c:pt>
                <c:pt idx="913">
                  <c:v>130.22267848541108</c:v>
                </c:pt>
                <c:pt idx="914">
                  <c:v>130.41213881544144</c:v>
                </c:pt>
                <c:pt idx="915">
                  <c:v>130.85949888952621</c:v>
                </c:pt>
                <c:pt idx="916">
                  <c:v>132.14649373193583</c:v>
                </c:pt>
                <c:pt idx="917">
                  <c:v>132.08723521489031</c:v>
                </c:pt>
                <c:pt idx="918">
                  <c:v>132.12980119225125</c:v>
                </c:pt>
                <c:pt idx="919">
                  <c:v>132.35097734839158</c:v>
                </c:pt>
                <c:pt idx="920">
                  <c:v>132.47199826439788</c:v>
                </c:pt>
                <c:pt idx="921">
                  <c:v>132.8901463932747</c:v>
                </c:pt>
                <c:pt idx="922">
                  <c:v>132.16569015353568</c:v>
                </c:pt>
                <c:pt idx="923">
                  <c:v>131.92949071096996</c:v>
                </c:pt>
                <c:pt idx="924">
                  <c:v>132.89348490181953</c:v>
                </c:pt>
                <c:pt idx="925">
                  <c:v>134.09952092366856</c:v>
                </c:pt>
                <c:pt idx="926">
                  <c:v>134.91495150858955</c:v>
                </c:pt>
                <c:pt idx="927">
                  <c:v>135.14447393406559</c:v>
                </c:pt>
                <c:pt idx="928">
                  <c:v>134.0110504614151</c:v>
                </c:pt>
                <c:pt idx="929">
                  <c:v>134.31986245317933</c:v>
                </c:pt>
                <c:pt idx="930">
                  <c:v>134.26477707130823</c:v>
                </c:pt>
                <c:pt idx="931">
                  <c:v>133.55951725215587</c:v>
                </c:pt>
                <c:pt idx="932">
                  <c:v>134.10285943221339</c:v>
                </c:pt>
                <c:pt idx="933">
                  <c:v>134.0778206221799</c:v>
                </c:pt>
                <c:pt idx="934">
                  <c:v>134.99257181959209</c:v>
                </c:pt>
                <c:pt idx="935">
                  <c:v>134.35324753356173</c:v>
                </c:pt>
                <c:pt idx="936">
                  <c:v>134.64035922383729</c:v>
                </c:pt>
                <c:pt idx="937">
                  <c:v>134.74802610667746</c:v>
                </c:pt>
                <c:pt idx="938">
                  <c:v>133.25404376792324</c:v>
                </c:pt>
                <c:pt idx="939">
                  <c:v>133.16056554285248</c:v>
                </c:pt>
                <c:pt idx="940">
                  <c:v>132.95524729976714</c:v>
                </c:pt>
                <c:pt idx="941">
                  <c:v>132.77747174761731</c:v>
                </c:pt>
                <c:pt idx="942">
                  <c:v>132.95942043494159</c:v>
                </c:pt>
                <c:pt idx="943">
                  <c:v>132.78164488279174</c:v>
                </c:pt>
                <c:pt idx="944">
                  <c:v>133.83244028263564</c:v>
                </c:pt>
                <c:pt idx="945">
                  <c:v>133.04371776202063</c:v>
                </c:pt>
                <c:pt idx="946">
                  <c:v>131.65573305284732</c:v>
                </c:pt>
                <c:pt idx="947">
                  <c:v>130.17677399950531</c:v>
                </c:pt>
                <c:pt idx="948">
                  <c:v>130.21433221506217</c:v>
                </c:pt>
                <c:pt idx="949">
                  <c:v>127.68541238951904</c:v>
                </c:pt>
                <c:pt idx="950">
                  <c:v>128.1302685827018</c:v>
                </c:pt>
                <c:pt idx="951">
                  <c:v>129.31043116788771</c:v>
                </c:pt>
                <c:pt idx="952">
                  <c:v>128.34059458860443</c:v>
                </c:pt>
                <c:pt idx="953">
                  <c:v>130.27108685120567</c:v>
                </c:pt>
                <c:pt idx="954">
                  <c:v>128.66526449342365</c:v>
                </c:pt>
                <c:pt idx="955">
                  <c:v>128.77376600390662</c:v>
                </c:pt>
                <c:pt idx="956">
                  <c:v>128.21623516405327</c:v>
                </c:pt>
                <c:pt idx="957">
                  <c:v>130.14088503822086</c:v>
                </c:pt>
                <c:pt idx="958">
                  <c:v>130.55903316811086</c:v>
                </c:pt>
                <c:pt idx="959">
                  <c:v>131.27597776514378</c:v>
                </c:pt>
                <c:pt idx="960">
                  <c:v>129.95977097853938</c:v>
                </c:pt>
                <c:pt idx="961">
                  <c:v>130.01902949558493</c:v>
                </c:pt>
                <c:pt idx="962">
                  <c:v>130.89288396990861</c:v>
                </c:pt>
                <c:pt idx="963">
                  <c:v>129.55414225417275</c:v>
                </c:pt>
                <c:pt idx="964">
                  <c:v>128.02510558076366</c:v>
                </c:pt>
                <c:pt idx="965">
                  <c:v>126.73977999262647</c:v>
                </c:pt>
                <c:pt idx="966">
                  <c:v>127.01938003918276</c:v>
                </c:pt>
                <c:pt idx="967">
                  <c:v>126.66132505398109</c:v>
                </c:pt>
                <c:pt idx="968">
                  <c:v>125.13896539664853</c:v>
                </c:pt>
                <c:pt idx="969">
                  <c:v>123.28525881740701</c:v>
                </c:pt>
                <c:pt idx="970">
                  <c:v>122.92803845984818</c:v>
                </c:pt>
                <c:pt idx="971">
                  <c:v>124.84601131793929</c:v>
                </c:pt>
                <c:pt idx="972">
                  <c:v>124.01305356670409</c:v>
                </c:pt>
                <c:pt idx="973">
                  <c:v>125.40938454622631</c:v>
                </c:pt>
                <c:pt idx="974">
                  <c:v>125.91433388409739</c:v>
                </c:pt>
                <c:pt idx="975">
                  <c:v>125.59884487625665</c:v>
                </c:pt>
                <c:pt idx="976">
                  <c:v>126.60957817964164</c:v>
                </c:pt>
                <c:pt idx="977">
                  <c:v>127.19632096368976</c:v>
                </c:pt>
                <c:pt idx="978">
                  <c:v>127.04274959494384</c:v>
                </c:pt>
                <c:pt idx="979">
                  <c:v>128.35979100919107</c:v>
                </c:pt>
                <c:pt idx="980">
                  <c:v>127.39746607261387</c:v>
                </c:pt>
                <c:pt idx="981">
                  <c:v>129.24115712723403</c:v>
                </c:pt>
                <c:pt idx="982">
                  <c:v>130.08413040207736</c:v>
                </c:pt>
                <c:pt idx="983">
                  <c:v>130.37207671898256</c:v>
                </c:pt>
                <c:pt idx="984">
                  <c:v>129.19775652223029</c:v>
                </c:pt>
                <c:pt idx="985">
                  <c:v>129.57083479385733</c:v>
                </c:pt>
                <c:pt idx="986">
                  <c:v>129.51658403861589</c:v>
                </c:pt>
                <c:pt idx="987">
                  <c:v>129.46901029945087</c:v>
                </c:pt>
                <c:pt idx="988">
                  <c:v>130.33117999589402</c:v>
                </c:pt>
                <c:pt idx="989">
                  <c:v>131.45959570674049</c:v>
                </c:pt>
                <c:pt idx="990">
                  <c:v>131.56225482777657</c:v>
                </c:pt>
                <c:pt idx="991">
                  <c:v>131.12908341247436</c:v>
                </c:pt>
                <c:pt idx="992">
                  <c:v>130.35621880592754</c:v>
                </c:pt>
                <c:pt idx="993">
                  <c:v>129.99732919308306</c:v>
                </c:pt>
                <c:pt idx="994">
                  <c:v>129.74026407565827</c:v>
                </c:pt>
                <c:pt idx="995">
                  <c:v>129.38471297135862</c:v>
                </c:pt>
                <c:pt idx="996">
                  <c:v>129.00078454949383</c:v>
                </c:pt>
                <c:pt idx="997">
                  <c:v>128.47496953575049</c:v>
                </c:pt>
                <c:pt idx="998">
                  <c:v>129.13182098910826</c:v>
                </c:pt>
                <c:pt idx="999">
                  <c:v>129.84793095951159</c:v>
                </c:pt>
                <c:pt idx="1000">
                  <c:v>129.99482531218104</c:v>
                </c:pt>
                <c:pt idx="1001">
                  <c:v>129.81621513340161</c:v>
                </c:pt>
                <c:pt idx="1002">
                  <c:v>127.92578496624604</c:v>
                </c:pt>
                <c:pt idx="1003">
                  <c:v>129.0625469474414</c:v>
                </c:pt>
                <c:pt idx="1004">
                  <c:v>127.61864222875423</c:v>
                </c:pt>
                <c:pt idx="1005">
                  <c:v>128.29385547606904</c:v>
                </c:pt>
                <c:pt idx="1006">
                  <c:v>127.7855676296531</c:v>
                </c:pt>
                <c:pt idx="1007">
                  <c:v>129.09676665445343</c:v>
                </c:pt>
                <c:pt idx="1008">
                  <c:v>127.4725825027144</c:v>
                </c:pt>
                <c:pt idx="1009">
                  <c:v>124.24341061982295</c:v>
                </c:pt>
                <c:pt idx="1010">
                  <c:v>125.41105380049873</c:v>
                </c:pt>
                <c:pt idx="1011">
                  <c:v>125.47031231754424</c:v>
                </c:pt>
                <c:pt idx="1012">
                  <c:v>123.73011501160298</c:v>
                </c:pt>
                <c:pt idx="1013">
                  <c:v>123.30528986563647</c:v>
                </c:pt>
                <c:pt idx="1014">
                  <c:v>122.46482047169521</c:v>
                </c:pt>
                <c:pt idx="1015">
                  <c:v>120.58190194825893</c:v>
                </c:pt>
                <c:pt idx="1016">
                  <c:v>120.45503864280576</c:v>
                </c:pt>
                <c:pt idx="1017">
                  <c:v>120.50010850106871</c:v>
                </c:pt>
                <c:pt idx="1018">
                  <c:v>116.93708581637952</c:v>
                </c:pt>
                <c:pt idx="1019">
                  <c:v>116.12833224854823</c:v>
                </c:pt>
                <c:pt idx="1020">
                  <c:v>119.20643664359581</c:v>
                </c:pt>
                <c:pt idx="1021">
                  <c:v>118.49449980836692</c:v>
                </c:pt>
                <c:pt idx="1022">
                  <c:v>120.81977064408389</c:v>
                </c:pt>
                <c:pt idx="1023">
                  <c:v>121.9022818700378</c:v>
                </c:pt>
                <c:pt idx="1024">
                  <c:v>122.80034052776539</c:v>
                </c:pt>
                <c:pt idx="1025">
                  <c:v>122.74692439915351</c:v>
                </c:pt>
                <c:pt idx="1026">
                  <c:v>122.04166458000113</c:v>
                </c:pt>
                <c:pt idx="1027">
                  <c:v>124.49379872117127</c:v>
                </c:pt>
                <c:pt idx="1028">
                  <c:v>124.18498672940703</c:v>
                </c:pt>
                <c:pt idx="1029">
                  <c:v>124.12405895808907</c:v>
                </c:pt>
                <c:pt idx="1030">
                  <c:v>126.65130952935976</c:v>
                </c:pt>
                <c:pt idx="1031">
                  <c:v>124.81930325363335</c:v>
                </c:pt>
                <c:pt idx="1032">
                  <c:v>123.84946667333685</c:v>
                </c:pt>
                <c:pt idx="1033">
                  <c:v>125.6756305606296</c:v>
                </c:pt>
                <c:pt idx="1034">
                  <c:v>125.52957083458978</c:v>
                </c:pt>
                <c:pt idx="1035">
                  <c:v>124.5672458980126</c:v>
                </c:pt>
                <c:pt idx="1036">
                  <c:v>125.71068489528446</c:v>
                </c:pt>
                <c:pt idx="1037">
                  <c:v>126.63294773540275</c:v>
                </c:pt>
                <c:pt idx="1038">
                  <c:v>124.64403158238555</c:v>
                </c:pt>
                <c:pt idx="1039">
                  <c:v>124.98289014598738</c:v>
                </c:pt>
                <c:pt idx="1040">
                  <c:v>125.1698465951157</c:v>
                </c:pt>
                <c:pt idx="1041">
                  <c:v>125.8509022318774</c:v>
                </c:pt>
                <c:pt idx="1042">
                  <c:v>127.09366184265369</c:v>
                </c:pt>
                <c:pt idx="1043">
                  <c:v>127.18213230490719</c:v>
                </c:pt>
                <c:pt idx="1044">
                  <c:v>126.61041280627126</c:v>
                </c:pt>
                <c:pt idx="1045">
                  <c:v>129.72190228170123</c:v>
                </c:pt>
                <c:pt idx="1046">
                  <c:v>130.50478241286939</c:v>
                </c:pt>
                <c:pt idx="1047">
                  <c:v>131.15746073105271</c:v>
                </c:pt>
                <c:pt idx="1048">
                  <c:v>130.96716577337955</c:v>
                </c:pt>
                <c:pt idx="1049">
                  <c:v>131.86438980447753</c:v>
                </c:pt>
                <c:pt idx="1050">
                  <c:v>131.84185487534606</c:v>
                </c:pt>
                <c:pt idx="1051">
                  <c:v>131.53471213684099</c:v>
                </c:pt>
                <c:pt idx="1052">
                  <c:v>131.87106682055403</c:v>
                </c:pt>
                <c:pt idx="1053">
                  <c:v>132.69067053963622</c:v>
                </c:pt>
                <c:pt idx="1054">
                  <c:v>131.32605538622403</c:v>
                </c:pt>
                <c:pt idx="1055">
                  <c:v>133.88418715697509</c:v>
                </c:pt>
                <c:pt idx="1056">
                  <c:v>132.85175355108825</c:v>
                </c:pt>
                <c:pt idx="1057">
                  <c:v>129.84626170523916</c:v>
                </c:pt>
                <c:pt idx="1058">
                  <c:v>129.33880848646606</c:v>
                </c:pt>
                <c:pt idx="1059">
                  <c:v>129.72774467114809</c:v>
                </c:pt>
                <c:pt idx="1060">
                  <c:v>126.11297511110627</c:v>
                </c:pt>
                <c:pt idx="1061">
                  <c:v>123.0907907255726</c:v>
                </c:pt>
                <c:pt idx="1062">
                  <c:v>125.63723771844313</c:v>
                </c:pt>
                <c:pt idx="1063">
                  <c:v>125.55794815316814</c:v>
                </c:pt>
                <c:pt idx="1064">
                  <c:v>129.1109553142492</c:v>
                </c:pt>
                <c:pt idx="1065">
                  <c:v>129.41058640903495</c:v>
                </c:pt>
                <c:pt idx="1066">
                  <c:v>130.31699133609825</c:v>
                </c:pt>
                <c:pt idx="1067">
                  <c:v>131.67826798197879</c:v>
                </c:pt>
                <c:pt idx="1068">
                  <c:v>131.53721601774305</c:v>
                </c:pt>
                <c:pt idx="1069">
                  <c:v>131.15746073105271</c:v>
                </c:pt>
                <c:pt idx="1070">
                  <c:v>129.49071060093956</c:v>
                </c:pt>
                <c:pt idx="1071">
                  <c:v>129.69018645559123</c:v>
                </c:pt>
                <c:pt idx="1072">
                  <c:v>129.54412672955141</c:v>
                </c:pt>
                <c:pt idx="1073">
                  <c:v>125.5045320245563</c:v>
                </c:pt>
                <c:pt idx="1074">
                  <c:v>125.02044836154424</c:v>
                </c:pt>
                <c:pt idx="1075">
                  <c:v>125.71903116462015</c:v>
                </c:pt>
                <c:pt idx="1076">
                  <c:v>128.92900662692495</c:v>
                </c:pt>
                <c:pt idx="1077">
                  <c:v>126.31996260846405</c:v>
                </c:pt>
                <c:pt idx="1078">
                  <c:v>127.61029595840532</c:v>
                </c:pt>
                <c:pt idx="1079">
                  <c:v>129.20777204685163</c:v>
                </c:pt>
                <c:pt idx="1080">
                  <c:v>127.45004757358291</c:v>
                </c:pt>
                <c:pt idx="1081">
                  <c:v>130.1851202698542</c:v>
                </c:pt>
                <c:pt idx="1082">
                  <c:v>132.37935466595673</c:v>
                </c:pt>
                <c:pt idx="1083">
                  <c:v>132.80751832046806</c:v>
                </c:pt>
                <c:pt idx="1084">
                  <c:v>133.3333333331982</c:v>
                </c:pt>
                <c:pt idx="1085">
                  <c:v>134.03442001717616</c:v>
                </c:pt>
                <c:pt idx="1086">
                  <c:v>135.96908541596508</c:v>
                </c:pt>
                <c:pt idx="1087">
                  <c:v>138.15330428845948</c:v>
                </c:pt>
                <c:pt idx="1088">
                  <c:v>139.61390154784451</c:v>
                </c:pt>
                <c:pt idx="1089">
                  <c:v>138.33942610994501</c:v>
                </c:pt>
                <c:pt idx="1090">
                  <c:v>138.34526849939189</c:v>
                </c:pt>
                <c:pt idx="1091">
                  <c:v>139.02298562760873</c:v>
                </c:pt>
                <c:pt idx="1092">
                  <c:v>137.96467858505875</c:v>
                </c:pt>
                <c:pt idx="1093">
                  <c:v>138.35945715817445</c:v>
                </c:pt>
                <c:pt idx="1094">
                  <c:v>140.0637655028313</c:v>
                </c:pt>
                <c:pt idx="1095">
                  <c:v>140.03872669279778</c:v>
                </c:pt>
                <c:pt idx="1096">
                  <c:v>140.17644014848869</c:v>
                </c:pt>
                <c:pt idx="1097">
                  <c:v>139.93189443658724</c:v>
                </c:pt>
                <c:pt idx="1098">
                  <c:v>137.90208155946834</c:v>
                </c:pt>
                <c:pt idx="1099">
                  <c:v>139.56382392676429</c:v>
                </c:pt>
                <c:pt idx="1100">
                  <c:v>139.16069908329965</c:v>
                </c:pt>
                <c:pt idx="1101">
                  <c:v>140.8099220460854</c:v>
                </c:pt>
                <c:pt idx="1102">
                  <c:v>141.26729764479151</c:v>
                </c:pt>
                <c:pt idx="1103">
                  <c:v>140.91675430229594</c:v>
                </c:pt>
                <c:pt idx="1104">
                  <c:v>140.95681639875482</c:v>
                </c:pt>
                <c:pt idx="1105">
                  <c:v>141.78226250728392</c:v>
                </c:pt>
                <c:pt idx="1106">
                  <c:v>142.53509606560129</c:v>
                </c:pt>
                <c:pt idx="1107">
                  <c:v>142.58934682084276</c:v>
                </c:pt>
                <c:pt idx="1108">
                  <c:v>143.90138047328591</c:v>
                </c:pt>
                <c:pt idx="1109">
                  <c:v>145.29186906336125</c:v>
                </c:pt>
                <c:pt idx="1110">
                  <c:v>145.37700101808312</c:v>
                </c:pt>
                <c:pt idx="1111">
                  <c:v>146.19827399143773</c:v>
                </c:pt>
                <c:pt idx="1112">
                  <c:v>146.02300232018996</c:v>
                </c:pt>
                <c:pt idx="1113">
                  <c:v>145.81935333137702</c:v>
                </c:pt>
                <c:pt idx="1114">
                  <c:v>144.1801458932126</c:v>
                </c:pt>
                <c:pt idx="1115">
                  <c:v>144.99974961229481</c:v>
                </c:pt>
                <c:pt idx="1116">
                  <c:v>146.26504415220259</c:v>
                </c:pt>
                <c:pt idx="1117">
                  <c:v>145.74340227363368</c:v>
                </c:pt>
                <c:pt idx="1118">
                  <c:v>145.32191563621203</c:v>
                </c:pt>
                <c:pt idx="1119">
                  <c:v>144.27863187907423</c:v>
                </c:pt>
                <c:pt idx="1120">
                  <c:v>146.20912414268867</c:v>
                </c:pt>
                <c:pt idx="1121">
                  <c:v>145.77595272637328</c:v>
                </c:pt>
                <c:pt idx="1122">
                  <c:v>145.59650792096426</c:v>
                </c:pt>
                <c:pt idx="1123">
                  <c:v>146.99701203566087</c:v>
                </c:pt>
                <c:pt idx="1124">
                  <c:v>146.06389904327847</c:v>
                </c:pt>
                <c:pt idx="1125">
                  <c:v>146.2408399687987</c:v>
                </c:pt>
                <c:pt idx="1126">
                  <c:v>146.38523044056609</c:v>
                </c:pt>
                <c:pt idx="1127">
                  <c:v>148.3132188222653</c:v>
                </c:pt>
                <c:pt idx="1128">
                  <c:v>147.94431368581269</c:v>
                </c:pt>
                <c:pt idx="1129">
                  <c:v>148.86991503447581</c:v>
                </c:pt>
                <c:pt idx="1130">
                  <c:v>147.71562588696625</c:v>
                </c:pt>
                <c:pt idx="1131">
                  <c:v>146.79002453830313</c:v>
                </c:pt>
                <c:pt idx="1132">
                  <c:v>147.0078621858986</c:v>
                </c:pt>
                <c:pt idx="1133">
                  <c:v>148.38416211820459</c:v>
                </c:pt>
                <c:pt idx="1134">
                  <c:v>147.12304071347126</c:v>
                </c:pt>
                <c:pt idx="1135">
                  <c:v>147.92094413005159</c:v>
                </c:pt>
                <c:pt idx="1136">
                  <c:v>147.82078888890436</c:v>
                </c:pt>
                <c:pt idx="1137">
                  <c:v>150.28293855469585</c:v>
                </c:pt>
                <c:pt idx="1138">
                  <c:v>150.04340060459845</c:v>
                </c:pt>
                <c:pt idx="1139">
                  <c:v>151.68344266939246</c:v>
                </c:pt>
                <c:pt idx="1140">
                  <c:v>152.81937002395824</c:v>
                </c:pt>
                <c:pt idx="1141">
                  <c:v>153.4561904280734</c:v>
                </c:pt>
                <c:pt idx="1142">
                  <c:v>152.73423806923637</c:v>
                </c:pt>
                <c:pt idx="1143">
                  <c:v>153.05139633134954</c:v>
                </c:pt>
                <c:pt idx="1144">
                  <c:v>151.71766237640452</c:v>
                </c:pt>
                <c:pt idx="1145">
                  <c:v>149.17872702725325</c:v>
                </c:pt>
                <c:pt idx="1146">
                  <c:v>150.73447176496825</c:v>
                </c:pt>
                <c:pt idx="1147">
                  <c:v>151.15095064058585</c:v>
                </c:pt>
                <c:pt idx="1148">
                  <c:v>150.03421970761994</c:v>
                </c:pt>
                <c:pt idx="1149">
                  <c:v>148.87826130482472</c:v>
                </c:pt>
                <c:pt idx="1150">
                  <c:v>149.33062914172677</c:v>
                </c:pt>
                <c:pt idx="1151">
                  <c:v>151.14677750541139</c:v>
                </c:pt>
                <c:pt idx="1152">
                  <c:v>149.16871150263194</c:v>
                </c:pt>
                <c:pt idx="1153">
                  <c:v>145.76593720276514</c:v>
                </c:pt>
                <c:pt idx="1154">
                  <c:v>146.17907756983789</c:v>
                </c:pt>
                <c:pt idx="1155">
                  <c:v>146.17907756983789</c:v>
                </c:pt>
                <c:pt idx="1156">
                  <c:v>147.3258550756546</c:v>
                </c:pt>
                <c:pt idx="1157">
                  <c:v>143.68270819804758</c:v>
                </c:pt>
                <c:pt idx="1158">
                  <c:v>143.06925734868034</c:v>
                </c:pt>
                <c:pt idx="1159">
                  <c:v>143.17692423253368</c:v>
                </c:pt>
                <c:pt idx="1160">
                  <c:v>146.62309913740424</c:v>
                </c:pt>
                <c:pt idx="1161">
                  <c:v>146.24918623813437</c:v>
                </c:pt>
                <c:pt idx="1162">
                  <c:v>144.74769225667404</c:v>
                </c:pt>
                <c:pt idx="1163">
                  <c:v>144.41384145386311</c:v>
                </c:pt>
                <c:pt idx="1164">
                  <c:v>146.1640542844257</c:v>
                </c:pt>
                <c:pt idx="1165">
                  <c:v>145.54142253807996</c:v>
                </c:pt>
                <c:pt idx="1166">
                  <c:v>145.85190378411664</c:v>
                </c:pt>
                <c:pt idx="1167">
                  <c:v>148.30988031473365</c:v>
                </c:pt>
                <c:pt idx="1168">
                  <c:v>148.27899911525327</c:v>
                </c:pt>
                <c:pt idx="1169">
                  <c:v>148.47263258045805</c:v>
                </c:pt>
                <c:pt idx="1170">
                  <c:v>148.12125461133289</c:v>
                </c:pt>
                <c:pt idx="1171">
                  <c:v>147.1505834044068</c:v>
                </c:pt>
                <c:pt idx="1172">
                  <c:v>146.15570801407682</c:v>
                </c:pt>
                <c:pt idx="1173">
                  <c:v>147.86752800143975</c:v>
                </c:pt>
                <c:pt idx="1174">
                  <c:v>146.64396481226331</c:v>
                </c:pt>
                <c:pt idx="1175">
                  <c:v>144.35708681771959</c:v>
                </c:pt>
                <c:pt idx="1176">
                  <c:v>144.35541756344719</c:v>
                </c:pt>
                <c:pt idx="1177">
                  <c:v>143.91473450543887</c:v>
                </c:pt>
                <c:pt idx="1178">
                  <c:v>144.45891131212608</c:v>
                </c:pt>
                <c:pt idx="1179">
                  <c:v>143.46820905697052</c:v>
                </c:pt>
                <c:pt idx="1180">
                  <c:v>141.81314370575109</c:v>
                </c:pt>
                <c:pt idx="1181">
                  <c:v>140.19897507762016</c:v>
                </c:pt>
                <c:pt idx="1182">
                  <c:v>139.89433622103039</c:v>
                </c:pt>
                <c:pt idx="1183">
                  <c:v>142.18538735074853</c:v>
                </c:pt>
                <c:pt idx="1184">
                  <c:v>143.19945916166517</c:v>
                </c:pt>
                <c:pt idx="1185">
                  <c:v>141.51852037276944</c:v>
                </c:pt>
                <c:pt idx="1186">
                  <c:v>139.38020598618078</c:v>
                </c:pt>
                <c:pt idx="1187">
                  <c:v>140.00701086668781</c:v>
                </c:pt>
                <c:pt idx="1188">
                  <c:v>139.03383577885967</c:v>
                </c:pt>
                <c:pt idx="1189">
                  <c:v>139.97946817575223</c:v>
                </c:pt>
                <c:pt idx="1190">
                  <c:v>140.13804730630224</c:v>
                </c:pt>
                <c:pt idx="1191">
                  <c:v>144.90209825204957</c:v>
                </c:pt>
                <c:pt idx="1192">
                  <c:v>146.39774984507622</c:v>
                </c:pt>
                <c:pt idx="1193">
                  <c:v>145.66661658926071</c:v>
                </c:pt>
                <c:pt idx="1194">
                  <c:v>145.46547148033659</c:v>
                </c:pt>
                <c:pt idx="1195">
                  <c:v>145.98878261317793</c:v>
                </c:pt>
                <c:pt idx="1196">
                  <c:v>141.10454537906708</c:v>
                </c:pt>
                <c:pt idx="1197">
                  <c:v>139.26920059378259</c:v>
                </c:pt>
                <c:pt idx="1198">
                  <c:v>141.47678902305131</c:v>
                </c:pt>
                <c:pt idx="1199">
                  <c:v>140.99103610576685</c:v>
                </c:pt>
                <c:pt idx="1200">
                  <c:v>140.32249987452852</c:v>
                </c:pt>
                <c:pt idx="1201">
                  <c:v>137.53067254211373</c:v>
                </c:pt>
                <c:pt idx="1202">
                  <c:v>134.94750196132915</c:v>
                </c:pt>
                <c:pt idx="1203">
                  <c:v>136.37721802123374</c:v>
                </c:pt>
                <c:pt idx="1204">
                  <c:v>139.81755053665742</c:v>
                </c:pt>
                <c:pt idx="1205">
                  <c:v>143.87049927380554</c:v>
                </c:pt>
                <c:pt idx="1206">
                  <c:v>146.17824294320829</c:v>
                </c:pt>
                <c:pt idx="1207">
                  <c:v>146.5713522630648</c:v>
                </c:pt>
                <c:pt idx="1208">
                  <c:v>147.19314938176774</c:v>
                </c:pt>
                <c:pt idx="1209">
                  <c:v>149.56682858429252</c:v>
                </c:pt>
                <c:pt idx="1210">
                  <c:v>149.1161300016629</c:v>
                </c:pt>
                <c:pt idx="1211">
                  <c:v>149.99248835688863</c:v>
                </c:pt>
                <c:pt idx="1212">
                  <c:v>148.55025289146064</c:v>
                </c:pt>
                <c:pt idx="1213">
                  <c:v>148.00440683050101</c:v>
                </c:pt>
                <c:pt idx="1214">
                  <c:v>147.7448378321742</c:v>
                </c:pt>
                <c:pt idx="1215">
                  <c:v>146.77082811670326</c:v>
                </c:pt>
                <c:pt idx="1216">
                  <c:v>143.83294105824868</c:v>
                </c:pt>
                <c:pt idx="1217">
                  <c:v>145.28268816638274</c:v>
                </c:pt>
                <c:pt idx="1218">
                  <c:v>146.10980352918423</c:v>
                </c:pt>
                <c:pt idx="1219">
                  <c:v>146.79753618100918</c:v>
                </c:pt>
                <c:pt idx="1220">
                  <c:v>146.86931410357809</c:v>
                </c:pt>
                <c:pt idx="1221">
                  <c:v>148.57612632913697</c:v>
                </c:pt>
                <c:pt idx="1222">
                  <c:v>148.17967850174881</c:v>
                </c:pt>
                <c:pt idx="1223">
                  <c:v>149.2129467342653</c:v>
                </c:pt>
                <c:pt idx="1224">
                  <c:v>149.15953060565343</c:v>
                </c:pt>
                <c:pt idx="1225">
                  <c:v>148.22391373338218</c:v>
                </c:pt>
                <c:pt idx="1226">
                  <c:v>149.58769425915156</c:v>
                </c:pt>
                <c:pt idx="1227">
                  <c:v>147.36257866356866</c:v>
                </c:pt>
                <c:pt idx="1228">
                  <c:v>143.80289448641108</c:v>
                </c:pt>
                <c:pt idx="1229">
                  <c:v>145.10825112277774</c:v>
                </c:pt>
                <c:pt idx="1230">
                  <c:v>144.80695077371959</c:v>
                </c:pt>
                <c:pt idx="1231">
                  <c:v>145.08237768510145</c:v>
                </c:pt>
                <c:pt idx="1232">
                  <c:v>145.00809588163051</c:v>
                </c:pt>
                <c:pt idx="1233">
                  <c:v>142.66780175948816</c:v>
                </c:pt>
                <c:pt idx="1234">
                  <c:v>140.36590047953226</c:v>
                </c:pt>
                <c:pt idx="1235">
                  <c:v>136.30043233686081</c:v>
                </c:pt>
                <c:pt idx="1236">
                  <c:v>128.83385914859497</c:v>
                </c:pt>
                <c:pt idx="1237">
                  <c:v>133.88836029214954</c:v>
                </c:pt>
                <c:pt idx="1238">
                  <c:v>132.56964962362991</c:v>
                </c:pt>
                <c:pt idx="1239">
                  <c:v>136.81790108025527</c:v>
                </c:pt>
                <c:pt idx="1240">
                  <c:v>137.05326589517819</c:v>
                </c:pt>
                <c:pt idx="1241">
                  <c:v>136.4431535543558</c:v>
                </c:pt>
                <c:pt idx="1242">
                  <c:v>133.41596140701807</c:v>
                </c:pt>
                <c:pt idx="1243">
                  <c:v>133.90421820520456</c:v>
                </c:pt>
                <c:pt idx="1244">
                  <c:v>136.44983057043225</c:v>
                </c:pt>
                <c:pt idx="1245">
                  <c:v>133.35586826232972</c:v>
                </c:pt>
              </c:numCache>
            </c:numRef>
          </c:val>
          <c:smooth val="0"/>
        </c:ser>
        <c:ser>
          <c:idx val="1"/>
          <c:order val="1"/>
          <c:tx>
            <c:strRef>
              <c:f>Sheet1!$C$1</c:f>
              <c:strCache>
                <c:ptCount val="1"/>
                <c:pt idx="0">
                  <c:v>Benchmark 1</c:v>
                </c:pt>
              </c:strCache>
            </c:strRef>
          </c:tx>
          <c:spPr>
            <a:ln w="12700">
              <a:solidFill>
                <a:schemeClr val="accent2"/>
              </a:solidFill>
              <a:prstDash val="solid"/>
            </a:ln>
          </c:spPr>
          <c:marker>
            <c:symbol val="none"/>
          </c:marker>
          <c:cat>
            <c:numRef>
              <c:f>Sheet1!$A$2:$A$1247</c:f>
              <c:numCache>
                <c:formatCode>m/d/yyyy\ h:mm</c:formatCode>
                <c:ptCount val="1246"/>
                <c:pt idx="0">
                  <c:v>40480</c:v>
                </c:pt>
                <c:pt idx="1">
                  <c:v>40483</c:v>
                </c:pt>
                <c:pt idx="2">
                  <c:v>40484</c:v>
                </c:pt>
                <c:pt idx="3">
                  <c:v>40485</c:v>
                </c:pt>
                <c:pt idx="4">
                  <c:v>40486</c:v>
                </c:pt>
                <c:pt idx="5">
                  <c:v>40487</c:v>
                </c:pt>
                <c:pt idx="6">
                  <c:v>40490</c:v>
                </c:pt>
                <c:pt idx="7">
                  <c:v>40491</c:v>
                </c:pt>
                <c:pt idx="8">
                  <c:v>40492</c:v>
                </c:pt>
                <c:pt idx="9">
                  <c:v>40493</c:v>
                </c:pt>
                <c:pt idx="10">
                  <c:v>40494</c:v>
                </c:pt>
                <c:pt idx="11">
                  <c:v>40497</c:v>
                </c:pt>
                <c:pt idx="12">
                  <c:v>40498</c:v>
                </c:pt>
                <c:pt idx="13">
                  <c:v>40499</c:v>
                </c:pt>
                <c:pt idx="14">
                  <c:v>40500</c:v>
                </c:pt>
                <c:pt idx="15">
                  <c:v>40501</c:v>
                </c:pt>
                <c:pt idx="16">
                  <c:v>40504</c:v>
                </c:pt>
                <c:pt idx="17">
                  <c:v>40505</c:v>
                </c:pt>
                <c:pt idx="18">
                  <c:v>40506</c:v>
                </c:pt>
                <c:pt idx="19">
                  <c:v>40507</c:v>
                </c:pt>
                <c:pt idx="20">
                  <c:v>40508</c:v>
                </c:pt>
                <c:pt idx="21">
                  <c:v>40511</c:v>
                </c:pt>
                <c:pt idx="22">
                  <c:v>40512</c:v>
                </c:pt>
                <c:pt idx="23">
                  <c:v>40513</c:v>
                </c:pt>
                <c:pt idx="24">
                  <c:v>40514</c:v>
                </c:pt>
                <c:pt idx="25">
                  <c:v>40515</c:v>
                </c:pt>
                <c:pt idx="26">
                  <c:v>40518</c:v>
                </c:pt>
                <c:pt idx="27">
                  <c:v>40519</c:v>
                </c:pt>
                <c:pt idx="28">
                  <c:v>40520</c:v>
                </c:pt>
                <c:pt idx="29">
                  <c:v>40521</c:v>
                </c:pt>
                <c:pt idx="30">
                  <c:v>40522</c:v>
                </c:pt>
                <c:pt idx="31">
                  <c:v>40525</c:v>
                </c:pt>
                <c:pt idx="32">
                  <c:v>40526</c:v>
                </c:pt>
                <c:pt idx="33">
                  <c:v>40527</c:v>
                </c:pt>
                <c:pt idx="34">
                  <c:v>40528</c:v>
                </c:pt>
                <c:pt idx="35">
                  <c:v>40529</c:v>
                </c:pt>
                <c:pt idx="36">
                  <c:v>40532</c:v>
                </c:pt>
                <c:pt idx="37">
                  <c:v>40533</c:v>
                </c:pt>
                <c:pt idx="38">
                  <c:v>40534</c:v>
                </c:pt>
                <c:pt idx="39">
                  <c:v>40535</c:v>
                </c:pt>
                <c:pt idx="40">
                  <c:v>40536</c:v>
                </c:pt>
                <c:pt idx="41">
                  <c:v>40539</c:v>
                </c:pt>
                <c:pt idx="42">
                  <c:v>40540</c:v>
                </c:pt>
                <c:pt idx="43">
                  <c:v>40541</c:v>
                </c:pt>
                <c:pt idx="44">
                  <c:v>40542</c:v>
                </c:pt>
                <c:pt idx="45">
                  <c:v>40543</c:v>
                </c:pt>
                <c:pt idx="46">
                  <c:v>40546</c:v>
                </c:pt>
                <c:pt idx="47">
                  <c:v>40547</c:v>
                </c:pt>
                <c:pt idx="48">
                  <c:v>40548</c:v>
                </c:pt>
                <c:pt idx="49">
                  <c:v>40549</c:v>
                </c:pt>
                <c:pt idx="50">
                  <c:v>40550</c:v>
                </c:pt>
                <c:pt idx="51">
                  <c:v>40553</c:v>
                </c:pt>
                <c:pt idx="52">
                  <c:v>40554</c:v>
                </c:pt>
                <c:pt idx="53">
                  <c:v>40555</c:v>
                </c:pt>
                <c:pt idx="54">
                  <c:v>40556</c:v>
                </c:pt>
                <c:pt idx="55">
                  <c:v>40557</c:v>
                </c:pt>
                <c:pt idx="56">
                  <c:v>40560</c:v>
                </c:pt>
                <c:pt idx="57">
                  <c:v>40561</c:v>
                </c:pt>
                <c:pt idx="58">
                  <c:v>40562</c:v>
                </c:pt>
                <c:pt idx="59">
                  <c:v>40563</c:v>
                </c:pt>
                <c:pt idx="60">
                  <c:v>40564</c:v>
                </c:pt>
                <c:pt idx="61">
                  <c:v>40567</c:v>
                </c:pt>
                <c:pt idx="62">
                  <c:v>40568</c:v>
                </c:pt>
                <c:pt idx="63">
                  <c:v>40569</c:v>
                </c:pt>
                <c:pt idx="64">
                  <c:v>40570</c:v>
                </c:pt>
                <c:pt idx="65">
                  <c:v>40571</c:v>
                </c:pt>
                <c:pt idx="66">
                  <c:v>40574</c:v>
                </c:pt>
                <c:pt idx="67">
                  <c:v>40575</c:v>
                </c:pt>
                <c:pt idx="68">
                  <c:v>40576</c:v>
                </c:pt>
                <c:pt idx="69">
                  <c:v>40577</c:v>
                </c:pt>
                <c:pt idx="70">
                  <c:v>40578</c:v>
                </c:pt>
                <c:pt idx="71">
                  <c:v>40581</c:v>
                </c:pt>
                <c:pt idx="72">
                  <c:v>40582</c:v>
                </c:pt>
                <c:pt idx="73">
                  <c:v>40583</c:v>
                </c:pt>
                <c:pt idx="74">
                  <c:v>40584</c:v>
                </c:pt>
                <c:pt idx="75">
                  <c:v>40585</c:v>
                </c:pt>
                <c:pt idx="76">
                  <c:v>40588</c:v>
                </c:pt>
                <c:pt idx="77">
                  <c:v>40589</c:v>
                </c:pt>
                <c:pt idx="78">
                  <c:v>40590</c:v>
                </c:pt>
                <c:pt idx="79">
                  <c:v>40591</c:v>
                </c:pt>
                <c:pt idx="80">
                  <c:v>40592</c:v>
                </c:pt>
                <c:pt idx="81">
                  <c:v>40595</c:v>
                </c:pt>
                <c:pt idx="82">
                  <c:v>40596</c:v>
                </c:pt>
                <c:pt idx="83">
                  <c:v>40597</c:v>
                </c:pt>
                <c:pt idx="84">
                  <c:v>40598</c:v>
                </c:pt>
                <c:pt idx="85">
                  <c:v>40599</c:v>
                </c:pt>
                <c:pt idx="86">
                  <c:v>40602</c:v>
                </c:pt>
                <c:pt idx="87">
                  <c:v>40603</c:v>
                </c:pt>
                <c:pt idx="88">
                  <c:v>40604</c:v>
                </c:pt>
                <c:pt idx="89">
                  <c:v>40605</c:v>
                </c:pt>
                <c:pt idx="90">
                  <c:v>40606</c:v>
                </c:pt>
                <c:pt idx="91">
                  <c:v>40609</c:v>
                </c:pt>
                <c:pt idx="92">
                  <c:v>40610</c:v>
                </c:pt>
                <c:pt idx="93">
                  <c:v>40611</c:v>
                </c:pt>
                <c:pt idx="94">
                  <c:v>40612</c:v>
                </c:pt>
                <c:pt idx="95">
                  <c:v>40613</c:v>
                </c:pt>
                <c:pt idx="96">
                  <c:v>40616</c:v>
                </c:pt>
                <c:pt idx="97">
                  <c:v>40617</c:v>
                </c:pt>
                <c:pt idx="98">
                  <c:v>40618</c:v>
                </c:pt>
                <c:pt idx="99">
                  <c:v>40619</c:v>
                </c:pt>
                <c:pt idx="100">
                  <c:v>40620</c:v>
                </c:pt>
                <c:pt idx="101">
                  <c:v>40623</c:v>
                </c:pt>
                <c:pt idx="102">
                  <c:v>40624</c:v>
                </c:pt>
                <c:pt idx="103">
                  <c:v>40625</c:v>
                </c:pt>
                <c:pt idx="104">
                  <c:v>40626</c:v>
                </c:pt>
                <c:pt idx="105">
                  <c:v>40627</c:v>
                </c:pt>
                <c:pt idx="106">
                  <c:v>40630</c:v>
                </c:pt>
                <c:pt idx="107">
                  <c:v>40631</c:v>
                </c:pt>
                <c:pt idx="108">
                  <c:v>40632</c:v>
                </c:pt>
                <c:pt idx="109">
                  <c:v>40633</c:v>
                </c:pt>
                <c:pt idx="110">
                  <c:v>40634</c:v>
                </c:pt>
                <c:pt idx="111">
                  <c:v>40637</c:v>
                </c:pt>
                <c:pt idx="112">
                  <c:v>40638</c:v>
                </c:pt>
                <c:pt idx="113">
                  <c:v>40639</c:v>
                </c:pt>
                <c:pt idx="114">
                  <c:v>40640</c:v>
                </c:pt>
                <c:pt idx="115">
                  <c:v>40641</c:v>
                </c:pt>
                <c:pt idx="116">
                  <c:v>40644</c:v>
                </c:pt>
                <c:pt idx="117">
                  <c:v>40645</c:v>
                </c:pt>
                <c:pt idx="118">
                  <c:v>40646</c:v>
                </c:pt>
                <c:pt idx="119">
                  <c:v>40647</c:v>
                </c:pt>
                <c:pt idx="120">
                  <c:v>40648</c:v>
                </c:pt>
                <c:pt idx="121">
                  <c:v>40651</c:v>
                </c:pt>
                <c:pt idx="122">
                  <c:v>40652</c:v>
                </c:pt>
                <c:pt idx="123">
                  <c:v>40653</c:v>
                </c:pt>
                <c:pt idx="124">
                  <c:v>40654</c:v>
                </c:pt>
                <c:pt idx="125">
                  <c:v>40659</c:v>
                </c:pt>
                <c:pt idx="126">
                  <c:v>40660</c:v>
                </c:pt>
                <c:pt idx="127">
                  <c:v>40661</c:v>
                </c:pt>
                <c:pt idx="128">
                  <c:v>40662</c:v>
                </c:pt>
                <c:pt idx="129">
                  <c:v>40665</c:v>
                </c:pt>
                <c:pt idx="130">
                  <c:v>40666</c:v>
                </c:pt>
                <c:pt idx="131">
                  <c:v>40667</c:v>
                </c:pt>
                <c:pt idx="132">
                  <c:v>40668</c:v>
                </c:pt>
                <c:pt idx="133">
                  <c:v>40669</c:v>
                </c:pt>
                <c:pt idx="134">
                  <c:v>40672</c:v>
                </c:pt>
                <c:pt idx="135">
                  <c:v>40673</c:v>
                </c:pt>
                <c:pt idx="136">
                  <c:v>40674</c:v>
                </c:pt>
                <c:pt idx="137">
                  <c:v>40675</c:v>
                </c:pt>
                <c:pt idx="138">
                  <c:v>40676</c:v>
                </c:pt>
                <c:pt idx="139">
                  <c:v>40679</c:v>
                </c:pt>
                <c:pt idx="140">
                  <c:v>40680</c:v>
                </c:pt>
                <c:pt idx="141">
                  <c:v>40681</c:v>
                </c:pt>
                <c:pt idx="142">
                  <c:v>40682</c:v>
                </c:pt>
                <c:pt idx="143">
                  <c:v>40683</c:v>
                </c:pt>
                <c:pt idx="144">
                  <c:v>40686</c:v>
                </c:pt>
                <c:pt idx="145">
                  <c:v>40687</c:v>
                </c:pt>
                <c:pt idx="146">
                  <c:v>40688</c:v>
                </c:pt>
                <c:pt idx="147">
                  <c:v>40689</c:v>
                </c:pt>
                <c:pt idx="148">
                  <c:v>40690</c:v>
                </c:pt>
                <c:pt idx="149">
                  <c:v>40693</c:v>
                </c:pt>
                <c:pt idx="150">
                  <c:v>40694</c:v>
                </c:pt>
                <c:pt idx="151">
                  <c:v>40695</c:v>
                </c:pt>
                <c:pt idx="152">
                  <c:v>40696</c:v>
                </c:pt>
                <c:pt idx="153">
                  <c:v>40697</c:v>
                </c:pt>
                <c:pt idx="154">
                  <c:v>40700</c:v>
                </c:pt>
                <c:pt idx="155">
                  <c:v>40701</c:v>
                </c:pt>
                <c:pt idx="156">
                  <c:v>40702</c:v>
                </c:pt>
                <c:pt idx="157">
                  <c:v>40703</c:v>
                </c:pt>
                <c:pt idx="158">
                  <c:v>40704</c:v>
                </c:pt>
                <c:pt idx="159">
                  <c:v>40707</c:v>
                </c:pt>
                <c:pt idx="160">
                  <c:v>40708</c:v>
                </c:pt>
                <c:pt idx="161">
                  <c:v>40709</c:v>
                </c:pt>
                <c:pt idx="162">
                  <c:v>40710</c:v>
                </c:pt>
                <c:pt idx="163">
                  <c:v>40711</c:v>
                </c:pt>
                <c:pt idx="164">
                  <c:v>40714</c:v>
                </c:pt>
                <c:pt idx="165">
                  <c:v>40715</c:v>
                </c:pt>
                <c:pt idx="166">
                  <c:v>40716</c:v>
                </c:pt>
                <c:pt idx="167">
                  <c:v>40717</c:v>
                </c:pt>
                <c:pt idx="168">
                  <c:v>40718</c:v>
                </c:pt>
                <c:pt idx="169">
                  <c:v>40721</c:v>
                </c:pt>
                <c:pt idx="170">
                  <c:v>40722</c:v>
                </c:pt>
                <c:pt idx="171">
                  <c:v>40723</c:v>
                </c:pt>
                <c:pt idx="172">
                  <c:v>40724</c:v>
                </c:pt>
                <c:pt idx="173">
                  <c:v>40725</c:v>
                </c:pt>
                <c:pt idx="174">
                  <c:v>40728</c:v>
                </c:pt>
                <c:pt idx="175">
                  <c:v>40729</c:v>
                </c:pt>
                <c:pt idx="176">
                  <c:v>40730</c:v>
                </c:pt>
                <c:pt idx="177">
                  <c:v>40731</c:v>
                </c:pt>
                <c:pt idx="178">
                  <c:v>40732</c:v>
                </c:pt>
                <c:pt idx="179">
                  <c:v>40735</c:v>
                </c:pt>
                <c:pt idx="180">
                  <c:v>40736</c:v>
                </c:pt>
                <c:pt idx="181">
                  <c:v>40737</c:v>
                </c:pt>
                <c:pt idx="182">
                  <c:v>40738</c:v>
                </c:pt>
                <c:pt idx="183">
                  <c:v>40739</c:v>
                </c:pt>
                <c:pt idx="184">
                  <c:v>40742</c:v>
                </c:pt>
                <c:pt idx="185">
                  <c:v>40743</c:v>
                </c:pt>
                <c:pt idx="186">
                  <c:v>40744</c:v>
                </c:pt>
                <c:pt idx="187">
                  <c:v>40745</c:v>
                </c:pt>
                <c:pt idx="188">
                  <c:v>40746</c:v>
                </c:pt>
                <c:pt idx="189">
                  <c:v>40749</c:v>
                </c:pt>
                <c:pt idx="190">
                  <c:v>40750</c:v>
                </c:pt>
                <c:pt idx="191">
                  <c:v>40751</c:v>
                </c:pt>
                <c:pt idx="192">
                  <c:v>40752</c:v>
                </c:pt>
                <c:pt idx="193">
                  <c:v>40753</c:v>
                </c:pt>
                <c:pt idx="194">
                  <c:v>40756</c:v>
                </c:pt>
                <c:pt idx="195">
                  <c:v>40757</c:v>
                </c:pt>
                <c:pt idx="196">
                  <c:v>40758</c:v>
                </c:pt>
                <c:pt idx="197">
                  <c:v>40759</c:v>
                </c:pt>
                <c:pt idx="198">
                  <c:v>40760</c:v>
                </c:pt>
                <c:pt idx="199">
                  <c:v>40763</c:v>
                </c:pt>
                <c:pt idx="200">
                  <c:v>40764</c:v>
                </c:pt>
                <c:pt idx="201">
                  <c:v>40765</c:v>
                </c:pt>
                <c:pt idx="202">
                  <c:v>40766</c:v>
                </c:pt>
                <c:pt idx="203">
                  <c:v>40767</c:v>
                </c:pt>
                <c:pt idx="204">
                  <c:v>40770</c:v>
                </c:pt>
                <c:pt idx="205">
                  <c:v>40771</c:v>
                </c:pt>
                <c:pt idx="206">
                  <c:v>40772</c:v>
                </c:pt>
                <c:pt idx="207">
                  <c:v>40773</c:v>
                </c:pt>
                <c:pt idx="208">
                  <c:v>40774</c:v>
                </c:pt>
                <c:pt idx="209">
                  <c:v>40777</c:v>
                </c:pt>
                <c:pt idx="210">
                  <c:v>40778</c:v>
                </c:pt>
                <c:pt idx="211">
                  <c:v>40779</c:v>
                </c:pt>
                <c:pt idx="212">
                  <c:v>40780</c:v>
                </c:pt>
                <c:pt idx="213">
                  <c:v>40781</c:v>
                </c:pt>
                <c:pt idx="214">
                  <c:v>40784</c:v>
                </c:pt>
                <c:pt idx="215">
                  <c:v>40785</c:v>
                </c:pt>
                <c:pt idx="216">
                  <c:v>40786</c:v>
                </c:pt>
                <c:pt idx="217">
                  <c:v>40787</c:v>
                </c:pt>
                <c:pt idx="218">
                  <c:v>40788</c:v>
                </c:pt>
                <c:pt idx="219">
                  <c:v>40791</c:v>
                </c:pt>
                <c:pt idx="220">
                  <c:v>40792</c:v>
                </c:pt>
                <c:pt idx="221">
                  <c:v>40793</c:v>
                </c:pt>
                <c:pt idx="222">
                  <c:v>40794</c:v>
                </c:pt>
                <c:pt idx="223">
                  <c:v>40795</c:v>
                </c:pt>
                <c:pt idx="224">
                  <c:v>40798</c:v>
                </c:pt>
                <c:pt idx="225">
                  <c:v>40799</c:v>
                </c:pt>
                <c:pt idx="226">
                  <c:v>40800</c:v>
                </c:pt>
                <c:pt idx="227">
                  <c:v>40801</c:v>
                </c:pt>
                <c:pt idx="228">
                  <c:v>40802</c:v>
                </c:pt>
                <c:pt idx="229">
                  <c:v>40805</c:v>
                </c:pt>
                <c:pt idx="230">
                  <c:v>40806</c:v>
                </c:pt>
                <c:pt idx="231">
                  <c:v>40807</c:v>
                </c:pt>
                <c:pt idx="232">
                  <c:v>40808</c:v>
                </c:pt>
                <c:pt idx="233">
                  <c:v>40809</c:v>
                </c:pt>
                <c:pt idx="234">
                  <c:v>40812</c:v>
                </c:pt>
                <c:pt idx="235">
                  <c:v>40813</c:v>
                </c:pt>
                <c:pt idx="236">
                  <c:v>40814</c:v>
                </c:pt>
                <c:pt idx="237">
                  <c:v>40815</c:v>
                </c:pt>
                <c:pt idx="238">
                  <c:v>40816</c:v>
                </c:pt>
                <c:pt idx="239">
                  <c:v>40819</c:v>
                </c:pt>
                <c:pt idx="240">
                  <c:v>40820</c:v>
                </c:pt>
                <c:pt idx="241">
                  <c:v>40821</c:v>
                </c:pt>
                <c:pt idx="242">
                  <c:v>40822</c:v>
                </c:pt>
                <c:pt idx="243">
                  <c:v>40823</c:v>
                </c:pt>
                <c:pt idx="244">
                  <c:v>40826</c:v>
                </c:pt>
                <c:pt idx="245">
                  <c:v>40827</c:v>
                </c:pt>
                <c:pt idx="246">
                  <c:v>40828</c:v>
                </c:pt>
                <c:pt idx="247">
                  <c:v>40829</c:v>
                </c:pt>
                <c:pt idx="248">
                  <c:v>40830</c:v>
                </c:pt>
                <c:pt idx="249">
                  <c:v>40833</c:v>
                </c:pt>
                <c:pt idx="250">
                  <c:v>40834</c:v>
                </c:pt>
                <c:pt idx="251">
                  <c:v>40835</c:v>
                </c:pt>
                <c:pt idx="252">
                  <c:v>40836</c:v>
                </c:pt>
                <c:pt idx="253">
                  <c:v>40837</c:v>
                </c:pt>
                <c:pt idx="254">
                  <c:v>40840</c:v>
                </c:pt>
                <c:pt idx="255">
                  <c:v>40841</c:v>
                </c:pt>
                <c:pt idx="256">
                  <c:v>40842</c:v>
                </c:pt>
                <c:pt idx="257">
                  <c:v>40843</c:v>
                </c:pt>
                <c:pt idx="258">
                  <c:v>40844</c:v>
                </c:pt>
                <c:pt idx="259">
                  <c:v>40847</c:v>
                </c:pt>
                <c:pt idx="260">
                  <c:v>40848</c:v>
                </c:pt>
                <c:pt idx="261">
                  <c:v>40849</c:v>
                </c:pt>
                <c:pt idx="262">
                  <c:v>40850</c:v>
                </c:pt>
                <c:pt idx="263">
                  <c:v>40851</c:v>
                </c:pt>
                <c:pt idx="264">
                  <c:v>40854</c:v>
                </c:pt>
                <c:pt idx="265">
                  <c:v>40855</c:v>
                </c:pt>
                <c:pt idx="266">
                  <c:v>40856</c:v>
                </c:pt>
                <c:pt idx="267">
                  <c:v>40857</c:v>
                </c:pt>
                <c:pt idx="268">
                  <c:v>40858</c:v>
                </c:pt>
                <c:pt idx="269">
                  <c:v>40861</c:v>
                </c:pt>
                <c:pt idx="270">
                  <c:v>40862</c:v>
                </c:pt>
                <c:pt idx="271">
                  <c:v>40863</c:v>
                </c:pt>
                <c:pt idx="272">
                  <c:v>40864</c:v>
                </c:pt>
                <c:pt idx="273">
                  <c:v>40865</c:v>
                </c:pt>
                <c:pt idx="274">
                  <c:v>40868</c:v>
                </c:pt>
                <c:pt idx="275">
                  <c:v>40869</c:v>
                </c:pt>
                <c:pt idx="276">
                  <c:v>40870</c:v>
                </c:pt>
                <c:pt idx="277">
                  <c:v>40871</c:v>
                </c:pt>
                <c:pt idx="278">
                  <c:v>40872</c:v>
                </c:pt>
                <c:pt idx="279">
                  <c:v>40875</c:v>
                </c:pt>
                <c:pt idx="280">
                  <c:v>40876</c:v>
                </c:pt>
                <c:pt idx="281">
                  <c:v>40877</c:v>
                </c:pt>
                <c:pt idx="282">
                  <c:v>40878</c:v>
                </c:pt>
                <c:pt idx="283">
                  <c:v>40879</c:v>
                </c:pt>
                <c:pt idx="284">
                  <c:v>40882</c:v>
                </c:pt>
                <c:pt idx="285">
                  <c:v>40883</c:v>
                </c:pt>
                <c:pt idx="286">
                  <c:v>40884</c:v>
                </c:pt>
                <c:pt idx="287">
                  <c:v>40885</c:v>
                </c:pt>
                <c:pt idx="288">
                  <c:v>40886</c:v>
                </c:pt>
                <c:pt idx="289">
                  <c:v>40889</c:v>
                </c:pt>
                <c:pt idx="290">
                  <c:v>40890</c:v>
                </c:pt>
                <c:pt idx="291">
                  <c:v>40891</c:v>
                </c:pt>
                <c:pt idx="292">
                  <c:v>40892</c:v>
                </c:pt>
                <c:pt idx="293">
                  <c:v>40893</c:v>
                </c:pt>
                <c:pt idx="294">
                  <c:v>40896</c:v>
                </c:pt>
                <c:pt idx="295">
                  <c:v>40897</c:v>
                </c:pt>
                <c:pt idx="296">
                  <c:v>40898</c:v>
                </c:pt>
                <c:pt idx="297">
                  <c:v>40899</c:v>
                </c:pt>
                <c:pt idx="298">
                  <c:v>40900</c:v>
                </c:pt>
                <c:pt idx="299">
                  <c:v>40904</c:v>
                </c:pt>
                <c:pt idx="300">
                  <c:v>40905</c:v>
                </c:pt>
                <c:pt idx="301">
                  <c:v>40906</c:v>
                </c:pt>
                <c:pt idx="302">
                  <c:v>40907</c:v>
                </c:pt>
                <c:pt idx="303">
                  <c:v>40910</c:v>
                </c:pt>
                <c:pt idx="304">
                  <c:v>40911</c:v>
                </c:pt>
                <c:pt idx="305">
                  <c:v>40912</c:v>
                </c:pt>
                <c:pt idx="306">
                  <c:v>40913</c:v>
                </c:pt>
                <c:pt idx="307">
                  <c:v>40914</c:v>
                </c:pt>
                <c:pt idx="308">
                  <c:v>40917</c:v>
                </c:pt>
                <c:pt idx="309">
                  <c:v>40918</c:v>
                </c:pt>
                <c:pt idx="310">
                  <c:v>40919</c:v>
                </c:pt>
                <c:pt idx="311">
                  <c:v>40920</c:v>
                </c:pt>
                <c:pt idx="312">
                  <c:v>40921</c:v>
                </c:pt>
                <c:pt idx="313">
                  <c:v>40924</c:v>
                </c:pt>
                <c:pt idx="314">
                  <c:v>40925</c:v>
                </c:pt>
                <c:pt idx="315">
                  <c:v>40926</c:v>
                </c:pt>
                <c:pt idx="316">
                  <c:v>40927</c:v>
                </c:pt>
                <c:pt idx="317">
                  <c:v>40928</c:v>
                </c:pt>
                <c:pt idx="318">
                  <c:v>40931</c:v>
                </c:pt>
                <c:pt idx="319">
                  <c:v>40932</c:v>
                </c:pt>
                <c:pt idx="320">
                  <c:v>40933</c:v>
                </c:pt>
                <c:pt idx="321">
                  <c:v>40934</c:v>
                </c:pt>
                <c:pt idx="322">
                  <c:v>40935</c:v>
                </c:pt>
                <c:pt idx="323">
                  <c:v>40938</c:v>
                </c:pt>
                <c:pt idx="324">
                  <c:v>40939</c:v>
                </c:pt>
                <c:pt idx="325">
                  <c:v>40940</c:v>
                </c:pt>
                <c:pt idx="326">
                  <c:v>40941</c:v>
                </c:pt>
                <c:pt idx="327">
                  <c:v>40942</c:v>
                </c:pt>
                <c:pt idx="328">
                  <c:v>40945</c:v>
                </c:pt>
                <c:pt idx="329">
                  <c:v>40946</c:v>
                </c:pt>
                <c:pt idx="330">
                  <c:v>40947</c:v>
                </c:pt>
                <c:pt idx="331">
                  <c:v>40948</c:v>
                </c:pt>
                <c:pt idx="332">
                  <c:v>40949</c:v>
                </c:pt>
                <c:pt idx="333">
                  <c:v>40952</c:v>
                </c:pt>
                <c:pt idx="334">
                  <c:v>40953</c:v>
                </c:pt>
                <c:pt idx="335">
                  <c:v>40954</c:v>
                </c:pt>
                <c:pt idx="336">
                  <c:v>40955</c:v>
                </c:pt>
                <c:pt idx="337">
                  <c:v>40956</c:v>
                </c:pt>
                <c:pt idx="338">
                  <c:v>40959</c:v>
                </c:pt>
                <c:pt idx="339">
                  <c:v>40960</c:v>
                </c:pt>
                <c:pt idx="340">
                  <c:v>40961</c:v>
                </c:pt>
                <c:pt idx="341">
                  <c:v>40962</c:v>
                </c:pt>
                <c:pt idx="342">
                  <c:v>40963</c:v>
                </c:pt>
                <c:pt idx="343">
                  <c:v>40966</c:v>
                </c:pt>
                <c:pt idx="344">
                  <c:v>40967</c:v>
                </c:pt>
                <c:pt idx="345">
                  <c:v>40968</c:v>
                </c:pt>
                <c:pt idx="346">
                  <c:v>40969</c:v>
                </c:pt>
                <c:pt idx="347">
                  <c:v>40970</c:v>
                </c:pt>
                <c:pt idx="348">
                  <c:v>40973</c:v>
                </c:pt>
                <c:pt idx="349">
                  <c:v>40974</c:v>
                </c:pt>
                <c:pt idx="350">
                  <c:v>40975</c:v>
                </c:pt>
                <c:pt idx="351">
                  <c:v>40976</c:v>
                </c:pt>
                <c:pt idx="352">
                  <c:v>40977</c:v>
                </c:pt>
                <c:pt idx="353">
                  <c:v>40980</c:v>
                </c:pt>
                <c:pt idx="354">
                  <c:v>40981</c:v>
                </c:pt>
                <c:pt idx="355">
                  <c:v>40982</c:v>
                </c:pt>
                <c:pt idx="356">
                  <c:v>40983</c:v>
                </c:pt>
                <c:pt idx="357">
                  <c:v>40984</c:v>
                </c:pt>
                <c:pt idx="358">
                  <c:v>40987</c:v>
                </c:pt>
                <c:pt idx="359">
                  <c:v>40988</c:v>
                </c:pt>
                <c:pt idx="360">
                  <c:v>40989</c:v>
                </c:pt>
                <c:pt idx="361">
                  <c:v>40990</c:v>
                </c:pt>
                <c:pt idx="362">
                  <c:v>40991</c:v>
                </c:pt>
                <c:pt idx="363">
                  <c:v>40994</c:v>
                </c:pt>
                <c:pt idx="364">
                  <c:v>40995</c:v>
                </c:pt>
                <c:pt idx="365">
                  <c:v>40996</c:v>
                </c:pt>
                <c:pt idx="366">
                  <c:v>40997</c:v>
                </c:pt>
                <c:pt idx="367">
                  <c:v>40998</c:v>
                </c:pt>
                <c:pt idx="368">
                  <c:v>41001</c:v>
                </c:pt>
                <c:pt idx="369">
                  <c:v>41002</c:v>
                </c:pt>
                <c:pt idx="370">
                  <c:v>41003</c:v>
                </c:pt>
                <c:pt idx="371">
                  <c:v>41004</c:v>
                </c:pt>
                <c:pt idx="372">
                  <c:v>41009</c:v>
                </c:pt>
                <c:pt idx="373">
                  <c:v>41010</c:v>
                </c:pt>
                <c:pt idx="374">
                  <c:v>41011</c:v>
                </c:pt>
                <c:pt idx="375">
                  <c:v>41012</c:v>
                </c:pt>
                <c:pt idx="376">
                  <c:v>41015</c:v>
                </c:pt>
                <c:pt idx="377">
                  <c:v>41016</c:v>
                </c:pt>
                <c:pt idx="378">
                  <c:v>41017</c:v>
                </c:pt>
                <c:pt idx="379">
                  <c:v>41018</c:v>
                </c:pt>
                <c:pt idx="380">
                  <c:v>41019</c:v>
                </c:pt>
                <c:pt idx="381">
                  <c:v>41022</c:v>
                </c:pt>
                <c:pt idx="382">
                  <c:v>41023</c:v>
                </c:pt>
                <c:pt idx="383">
                  <c:v>41024</c:v>
                </c:pt>
                <c:pt idx="384">
                  <c:v>41025</c:v>
                </c:pt>
                <c:pt idx="385">
                  <c:v>41026</c:v>
                </c:pt>
                <c:pt idx="386">
                  <c:v>41029</c:v>
                </c:pt>
                <c:pt idx="387">
                  <c:v>41030</c:v>
                </c:pt>
                <c:pt idx="388">
                  <c:v>41031</c:v>
                </c:pt>
                <c:pt idx="389">
                  <c:v>41032</c:v>
                </c:pt>
                <c:pt idx="390">
                  <c:v>41033</c:v>
                </c:pt>
                <c:pt idx="391">
                  <c:v>41036</c:v>
                </c:pt>
                <c:pt idx="392">
                  <c:v>41037</c:v>
                </c:pt>
                <c:pt idx="393">
                  <c:v>41038</c:v>
                </c:pt>
                <c:pt idx="394">
                  <c:v>41039</c:v>
                </c:pt>
                <c:pt idx="395">
                  <c:v>41040</c:v>
                </c:pt>
                <c:pt idx="396">
                  <c:v>41043</c:v>
                </c:pt>
                <c:pt idx="397">
                  <c:v>41044</c:v>
                </c:pt>
                <c:pt idx="398">
                  <c:v>41045</c:v>
                </c:pt>
                <c:pt idx="399">
                  <c:v>41046</c:v>
                </c:pt>
                <c:pt idx="400">
                  <c:v>41047</c:v>
                </c:pt>
                <c:pt idx="401">
                  <c:v>41050</c:v>
                </c:pt>
                <c:pt idx="402">
                  <c:v>41051</c:v>
                </c:pt>
                <c:pt idx="403">
                  <c:v>41052</c:v>
                </c:pt>
                <c:pt idx="404">
                  <c:v>41053</c:v>
                </c:pt>
                <c:pt idx="405">
                  <c:v>41054</c:v>
                </c:pt>
                <c:pt idx="406">
                  <c:v>41057</c:v>
                </c:pt>
                <c:pt idx="407">
                  <c:v>41058</c:v>
                </c:pt>
                <c:pt idx="408">
                  <c:v>41059</c:v>
                </c:pt>
                <c:pt idx="409">
                  <c:v>41060</c:v>
                </c:pt>
                <c:pt idx="410">
                  <c:v>41061</c:v>
                </c:pt>
                <c:pt idx="411">
                  <c:v>41064</c:v>
                </c:pt>
                <c:pt idx="412">
                  <c:v>41065</c:v>
                </c:pt>
                <c:pt idx="413">
                  <c:v>41066</c:v>
                </c:pt>
                <c:pt idx="414">
                  <c:v>41067</c:v>
                </c:pt>
                <c:pt idx="415">
                  <c:v>41068</c:v>
                </c:pt>
                <c:pt idx="416">
                  <c:v>41071</c:v>
                </c:pt>
                <c:pt idx="417">
                  <c:v>41072</c:v>
                </c:pt>
                <c:pt idx="418">
                  <c:v>41073</c:v>
                </c:pt>
                <c:pt idx="419">
                  <c:v>41074</c:v>
                </c:pt>
                <c:pt idx="420">
                  <c:v>41075</c:v>
                </c:pt>
                <c:pt idx="421">
                  <c:v>41078</c:v>
                </c:pt>
                <c:pt idx="422">
                  <c:v>41079</c:v>
                </c:pt>
                <c:pt idx="423">
                  <c:v>41080</c:v>
                </c:pt>
                <c:pt idx="424">
                  <c:v>41081</c:v>
                </c:pt>
                <c:pt idx="425">
                  <c:v>41082</c:v>
                </c:pt>
                <c:pt idx="426">
                  <c:v>41085</c:v>
                </c:pt>
                <c:pt idx="427">
                  <c:v>41086</c:v>
                </c:pt>
                <c:pt idx="428">
                  <c:v>41087</c:v>
                </c:pt>
                <c:pt idx="429">
                  <c:v>41088</c:v>
                </c:pt>
                <c:pt idx="430">
                  <c:v>41089</c:v>
                </c:pt>
                <c:pt idx="431">
                  <c:v>41092</c:v>
                </c:pt>
                <c:pt idx="432">
                  <c:v>41093</c:v>
                </c:pt>
                <c:pt idx="433">
                  <c:v>41094</c:v>
                </c:pt>
                <c:pt idx="434">
                  <c:v>41095</c:v>
                </c:pt>
                <c:pt idx="435">
                  <c:v>41096</c:v>
                </c:pt>
                <c:pt idx="436">
                  <c:v>41099</c:v>
                </c:pt>
                <c:pt idx="437">
                  <c:v>41100</c:v>
                </c:pt>
                <c:pt idx="438">
                  <c:v>41101</c:v>
                </c:pt>
                <c:pt idx="439">
                  <c:v>41102</c:v>
                </c:pt>
                <c:pt idx="440">
                  <c:v>41103</c:v>
                </c:pt>
                <c:pt idx="441">
                  <c:v>41106</c:v>
                </c:pt>
                <c:pt idx="442">
                  <c:v>41107</c:v>
                </c:pt>
                <c:pt idx="443">
                  <c:v>41108</c:v>
                </c:pt>
                <c:pt idx="444">
                  <c:v>41109</c:v>
                </c:pt>
                <c:pt idx="445">
                  <c:v>41110</c:v>
                </c:pt>
                <c:pt idx="446">
                  <c:v>41113</c:v>
                </c:pt>
                <c:pt idx="447">
                  <c:v>41114</c:v>
                </c:pt>
                <c:pt idx="448">
                  <c:v>41115</c:v>
                </c:pt>
                <c:pt idx="449">
                  <c:v>41116</c:v>
                </c:pt>
                <c:pt idx="450">
                  <c:v>41117</c:v>
                </c:pt>
                <c:pt idx="451">
                  <c:v>41120</c:v>
                </c:pt>
                <c:pt idx="452">
                  <c:v>41121</c:v>
                </c:pt>
                <c:pt idx="453">
                  <c:v>41122</c:v>
                </c:pt>
                <c:pt idx="454">
                  <c:v>41123</c:v>
                </c:pt>
                <c:pt idx="455">
                  <c:v>41124</c:v>
                </c:pt>
                <c:pt idx="456">
                  <c:v>41127</c:v>
                </c:pt>
                <c:pt idx="457">
                  <c:v>41128</c:v>
                </c:pt>
                <c:pt idx="458">
                  <c:v>41129</c:v>
                </c:pt>
                <c:pt idx="459">
                  <c:v>41130</c:v>
                </c:pt>
                <c:pt idx="460">
                  <c:v>41131</c:v>
                </c:pt>
                <c:pt idx="461">
                  <c:v>41134</c:v>
                </c:pt>
                <c:pt idx="462">
                  <c:v>41135</c:v>
                </c:pt>
                <c:pt idx="463">
                  <c:v>41136</c:v>
                </c:pt>
                <c:pt idx="464">
                  <c:v>41137</c:v>
                </c:pt>
                <c:pt idx="465">
                  <c:v>41138</c:v>
                </c:pt>
                <c:pt idx="466">
                  <c:v>41141</c:v>
                </c:pt>
                <c:pt idx="467">
                  <c:v>41142</c:v>
                </c:pt>
                <c:pt idx="468">
                  <c:v>41143</c:v>
                </c:pt>
                <c:pt idx="469">
                  <c:v>41144</c:v>
                </c:pt>
                <c:pt idx="470">
                  <c:v>41145</c:v>
                </c:pt>
                <c:pt idx="471">
                  <c:v>41148</c:v>
                </c:pt>
                <c:pt idx="472">
                  <c:v>41149</c:v>
                </c:pt>
                <c:pt idx="473">
                  <c:v>41150</c:v>
                </c:pt>
                <c:pt idx="474">
                  <c:v>41151</c:v>
                </c:pt>
                <c:pt idx="475">
                  <c:v>41152</c:v>
                </c:pt>
                <c:pt idx="476">
                  <c:v>41155</c:v>
                </c:pt>
                <c:pt idx="477">
                  <c:v>41156</c:v>
                </c:pt>
                <c:pt idx="478">
                  <c:v>41157</c:v>
                </c:pt>
                <c:pt idx="479">
                  <c:v>41158</c:v>
                </c:pt>
                <c:pt idx="480">
                  <c:v>41159</c:v>
                </c:pt>
                <c:pt idx="481">
                  <c:v>41162</c:v>
                </c:pt>
                <c:pt idx="482">
                  <c:v>41163</c:v>
                </c:pt>
                <c:pt idx="483">
                  <c:v>41164</c:v>
                </c:pt>
                <c:pt idx="484">
                  <c:v>41165</c:v>
                </c:pt>
                <c:pt idx="485">
                  <c:v>41166</c:v>
                </c:pt>
                <c:pt idx="486">
                  <c:v>41169</c:v>
                </c:pt>
                <c:pt idx="487">
                  <c:v>41170</c:v>
                </c:pt>
                <c:pt idx="488">
                  <c:v>41171</c:v>
                </c:pt>
                <c:pt idx="489">
                  <c:v>41172</c:v>
                </c:pt>
                <c:pt idx="490">
                  <c:v>41173</c:v>
                </c:pt>
                <c:pt idx="491">
                  <c:v>41176</c:v>
                </c:pt>
                <c:pt idx="492">
                  <c:v>41177</c:v>
                </c:pt>
                <c:pt idx="493">
                  <c:v>41178</c:v>
                </c:pt>
                <c:pt idx="494">
                  <c:v>41179</c:v>
                </c:pt>
                <c:pt idx="495">
                  <c:v>41180</c:v>
                </c:pt>
                <c:pt idx="496">
                  <c:v>41183</c:v>
                </c:pt>
                <c:pt idx="497">
                  <c:v>41184</c:v>
                </c:pt>
                <c:pt idx="498">
                  <c:v>41185</c:v>
                </c:pt>
                <c:pt idx="499">
                  <c:v>41186</c:v>
                </c:pt>
                <c:pt idx="500">
                  <c:v>41187</c:v>
                </c:pt>
                <c:pt idx="501">
                  <c:v>41190</c:v>
                </c:pt>
                <c:pt idx="502">
                  <c:v>41191</c:v>
                </c:pt>
                <c:pt idx="503">
                  <c:v>41192</c:v>
                </c:pt>
                <c:pt idx="504">
                  <c:v>41193</c:v>
                </c:pt>
                <c:pt idx="505">
                  <c:v>41194</c:v>
                </c:pt>
                <c:pt idx="506">
                  <c:v>41197</c:v>
                </c:pt>
                <c:pt idx="507">
                  <c:v>41198</c:v>
                </c:pt>
                <c:pt idx="508">
                  <c:v>41199</c:v>
                </c:pt>
                <c:pt idx="509">
                  <c:v>41200</c:v>
                </c:pt>
                <c:pt idx="510">
                  <c:v>41201</c:v>
                </c:pt>
                <c:pt idx="511">
                  <c:v>41204</c:v>
                </c:pt>
                <c:pt idx="512">
                  <c:v>41205</c:v>
                </c:pt>
                <c:pt idx="513">
                  <c:v>41206</c:v>
                </c:pt>
                <c:pt idx="514">
                  <c:v>41207</c:v>
                </c:pt>
                <c:pt idx="515">
                  <c:v>41208</c:v>
                </c:pt>
                <c:pt idx="516">
                  <c:v>41211</c:v>
                </c:pt>
                <c:pt idx="517">
                  <c:v>41212</c:v>
                </c:pt>
                <c:pt idx="518">
                  <c:v>41213</c:v>
                </c:pt>
                <c:pt idx="519">
                  <c:v>41214</c:v>
                </c:pt>
                <c:pt idx="520">
                  <c:v>41215</c:v>
                </c:pt>
                <c:pt idx="521">
                  <c:v>41218</c:v>
                </c:pt>
                <c:pt idx="522">
                  <c:v>41219</c:v>
                </c:pt>
                <c:pt idx="523">
                  <c:v>41220</c:v>
                </c:pt>
                <c:pt idx="524">
                  <c:v>41221</c:v>
                </c:pt>
                <c:pt idx="525">
                  <c:v>41222</c:v>
                </c:pt>
                <c:pt idx="526">
                  <c:v>41225</c:v>
                </c:pt>
                <c:pt idx="527">
                  <c:v>41226</c:v>
                </c:pt>
                <c:pt idx="528">
                  <c:v>41227</c:v>
                </c:pt>
                <c:pt idx="529">
                  <c:v>41228</c:v>
                </c:pt>
                <c:pt idx="530">
                  <c:v>41229</c:v>
                </c:pt>
                <c:pt idx="531">
                  <c:v>41232</c:v>
                </c:pt>
                <c:pt idx="532">
                  <c:v>41233</c:v>
                </c:pt>
                <c:pt idx="533">
                  <c:v>41234</c:v>
                </c:pt>
                <c:pt idx="534">
                  <c:v>41235</c:v>
                </c:pt>
                <c:pt idx="535">
                  <c:v>41236</c:v>
                </c:pt>
                <c:pt idx="536">
                  <c:v>41239</c:v>
                </c:pt>
                <c:pt idx="537">
                  <c:v>41240</c:v>
                </c:pt>
                <c:pt idx="538">
                  <c:v>41241</c:v>
                </c:pt>
                <c:pt idx="539">
                  <c:v>41242</c:v>
                </c:pt>
                <c:pt idx="540">
                  <c:v>41243</c:v>
                </c:pt>
                <c:pt idx="541">
                  <c:v>41246</c:v>
                </c:pt>
                <c:pt idx="542">
                  <c:v>41247</c:v>
                </c:pt>
                <c:pt idx="543">
                  <c:v>41248</c:v>
                </c:pt>
                <c:pt idx="544">
                  <c:v>41249</c:v>
                </c:pt>
                <c:pt idx="545">
                  <c:v>41250</c:v>
                </c:pt>
                <c:pt idx="546">
                  <c:v>41253</c:v>
                </c:pt>
                <c:pt idx="547">
                  <c:v>41254</c:v>
                </c:pt>
                <c:pt idx="548">
                  <c:v>41255</c:v>
                </c:pt>
                <c:pt idx="549">
                  <c:v>41256</c:v>
                </c:pt>
                <c:pt idx="550">
                  <c:v>41257</c:v>
                </c:pt>
                <c:pt idx="551">
                  <c:v>41260</c:v>
                </c:pt>
                <c:pt idx="552">
                  <c:v>41261</c:v>
                </c:pt>
                <c:pt idx="553">
                  <c:v>41262</c:v>
                </c:pt>
                <c:pt idx="554">
                  <c:v>41263</c:v>
                </c:pt>
                <c:pt idx="555">
                  <c:v>41264</c:v>
                </c:pt>
                <c:pt idx="556">
                  <c:v>41267</c:v>
                </c:pt>
                <c:pt idx="557">
                  <c:v>41270</c:v>
                </c:pt>
                <c:pt idx="558">
                  <c:v>41271</c:v>
                </c:pt>
                <c:pt idx="559">
                  <c:v>41274</c:v>
                </c:pt>
                <c:pt idx="560">
                  <c:v>41276</c:v>
                </c:pt>
                <c:pt idx="561">
                  <c:v>41277</c:v>
                </c:pt>
                <c:pt idx="562">
                  <c:v>41278</c:v>
                </c:pt>
                <c:pt idx="563">
                  <c:v>41281</c:v>
                </c:pt>
                <c:pt idx="564">
                  <c:v>41282</c:v>
                </c:pt>
                <c:pt idx="565">
                  <c:v>41283</c:v>
                </c:pt>
                <c:pt idx="566">
                  <c:v>41284</c:v>
                </c:pt>
                <c:pt idx="567">
                  <c:v>41285</c:v>
                </c:pt>
                <c:pt idx="568">
                  <c:v>41288</c:v>
                </c:pt>
                <c:pt idx="569">
                  <c:v>41289</c:v>
                </c:pt>
                <c:pt idx="570">
                  <c:v>41290</c:v>
                </c:pt>
                <c:pt idx="571">
                  <c:v>41291</c:v>
                </c:pt>
                <c:pt idx="572">
                  <c:v>41292</c:v>
                </c:pt>
                <c:pt idx="573">
                  <c:v>41295</c:v>
                </c:pt>
                <c:pt idx="574">
                  <c:v>41296</c:v>
                </c:pt>
                <c:pt idx="575">
                  <c:v>41297</c:v>
                </c:pt>
                <c:pt idx="576">
                  <c:v>41298</c:v>
                </c:pt>
                <c:pt idx="577">
                  <c:v>41299</c:v>
                </c:pt>
                <c:pt idx="578">
                  <c:v>41302</c:v>
                </c:pt>
                <c:pt idx="579">
                  <c:v>41303</c:v>
                </c:pt>
                <c:pt idx="580">
                  <c:v>41304</c:v>
                </c:pt>
                <c:pt idx="581">
                  <c:v>41305</c:v>
                </c:pt>
                <c:pt idx="582">
                  <c:v>41306</c:v>
                </c:pt>
                <c:pt idx="583">
                  <c:v>41309</c:v>
                </c:pt>
                <c:pt idx="584">
                  <c:v>41310</c:v>
                </c:pt>
                <c:pt idx="585">
                  <c:v>41311</c:v>
                </c:pt>
                <c:pt idx="586">
                  <c:v>41312</c:v>
                </c:pt>
                <c:pt idx="587">
                  <c:v>41313</c:v>
                </c:pt>
                <c:pt idx="588">
                  <c:v>41316</c:v>
                </c:pt>
                <c:pt idx="589">
                  <c:v>41317</c:v>
                </c:pt>
                <c:pt idx="590">
                  <c:v>41318</c:v>
                </c:pt>
                <c:pt idx="591">
                  <c:v>41319</c:v>
                </c:pt>
                <c:pt idx="592">
                  <c:v>41320</c:v>
                </c:pt>
                <c:pt idx="593">
                  <c:v>41323</c:v>
                </c:pt>
                <c:pt idx="594">
                  <c:v>41324</c:v>
                </c:pt>
                <c:pt idx="595">
                  <c:v>41325</c:v>
                </c:pt>
                <c:pt idx="596">
                  <c:v>41326</c:v>
                </c:pt>
                <c:pt idx="597">
                  <c:v>41327</c:v>
                </c:pt>
                <c:pt idx="598">
                  <c:v>41330</c:v>
                </c:pt>
                <c:pt idx="599">
                  <c:v>41331</c:v>
                </c:pt>
                <c:pt idx="600">
                  <c:v>41332</c:v>
                </c:pt>
                <c:pt idx="601">
                  <c:v>41333</c:v>
                </c:pt>
                <c:pt idx="602">
                  <c:v>41334</c:v>
                </c:pt>
                <c:pt idx="603">
                  <c:v>41337</c:v>
                </c:pt>
                <c:pt idx="604">
                  <c:v>41338</c:v>
                </c:pt>
                <c:pt idx="605">
                  <c:v>41339</c:v>
                </c:pt>
                <c:pt idx="606">
                  <c:v>41340</c:v>
                </c:pt>
                <c:pt idx="607">
                  <c:v>41341</c:v>
                </c:pt>
                <c:pt idx="608">
                  <c:v>41344</c:v>
                </c:pt>
                <c:pt idx="609">
                  <c:v>41345</c:v>
                </c:pt>
                <c:pt idx="610">
                  <c:v>41346</c:v>
                </c:pt>
                <c:pt idx="611">
                  <c:v>41347</c:v>
                </c:pt>
                <c:pt idx="612">
                  <c:v>41348</c:v>
                </c:pt>
                <c:pt idx="613">
                  <c:v>41351</c:v>
                </c:pt>
                <c:pt idx="614">
                  <c:v>41352</c:v>
                </c:pt>
                <c:pt idx="615">
                  <c:v>41353</c:v>
                </c:pt>
                <c:pt idx="616">
                  <c:v>41354</c:v>
                </c:pt>
                <c:pt idx="617">
                  <c:v>41355</c:v>
                </c:pt>
                <c:pt idx="618">
                  <c:v>41358</c:v>
                </c:pt>
                <c:pt idx="619">
                  <c:v>41359</c:v>
                </c:pt>
                <c:pt idx="620">
                  <c:v>41360</c:v>
                </c:pt>
                <c:pt idx="621">
                  <c:v>41361</c:v>
                </c:pt>
                <c:pt idx="622">
                  <c:v>41366</c:v>
                </c:pt>
                <c:pt idx="623">
                  <c:v>41367</c:v>
                </c:pt>
                <c:pt idx="624">
                  <c:v>41368</c:v>
                </c:pt>
                <c:pt idx="625">
                  <c:v>41369</c:v>
                </c:pt>
                <c:pt idx="626">
                  <c:v>41372</c:v>
                </c:pt>
                <c:pt idx="627">
                  <c:v>41373</c:v>
                </c:pt>
                <c:pt idx="628">
                  <c:v>41374</c:v>
                </c:pt>
                <c:pt idx="629">
                  <c:v>41375</c:v>
                </c:pt>
                <c:pt idx="630">
                  <c:v>41376</c:v>
                </c:pt>
                <c:pt idx="631">
                  <c:v>41379</c:v>
                </c:pt>
                <c:pt idx="632">
                  <c:v>41380</c:v>
                </c:pt>
                <c:pt idx="633">
                  <c:v>41381</c:v>
                </c:pt>
                <c:pt idx="634">
                  <c:v>41382</c:v>
                </c:pt>
                <c:pt idx="635">
                  <c:v>41383</c:v>
                </c:pt>
                <c:pt idx="636">
                  <c:v>41386</c:v>
                </c:pt>
                <c:pt idx="637">
                  <c:v>41387</c:v>
                </c:pt>
                <c:pt idx="638">
                  <c:v>41388</c:v>
                </c:pt>
                <c:pt idx="639">
                  <c:v>41389</c:v>
                </c:pt>
                <c:pt idx="640">
                  <c:v>41390</c:v>
                </c:pt>
                <c:pt idx="641">
                  <c:v>41393</c:v>
                </c:pt>
                <c:pt idx="642">
                  <c:v>41394</c:v>
                </c:pt>
                <c:pt idx="643">
                  <c:v>41395</c:v>
                </c:pt>
                <c:pt idx="644">
                  <c:v>41396</c:v>
                </c:pt>
                <c:pt idx="645">
                  <c:v>41397</c:v>
                </c:pt>
                <c:pt idx="646">
                  <c:v>41400</c:v>
                </c:pt>
                <c:pt idx="647">
                  <c:v>41401</c:v>
                </c:pt>
                <c:pt idx="648">
                  <c:v>41402</c:v>
                </c:pt>
                <c:pt idx="649">
                  <c:v>41403</c:v>
                </c:pt>
                <c:pt idx="650">
                  <c:v>41404</c:v>
                </c:pt>
                <c:pt idx="651">
                  <c:v>41407</c:v>
                </c:pt>
                <c:pt idx="652">
                  <c:v>41408</c:v>
                </c:pt>
                <c:pt idx="653">
                  <c:v>41409</c:v>
                </c:pt>
                <c:pt idx="654">
                  <c:v>41410</c:v>
                </c:pt>
                <c:pt idx="655">
                  <c:v>41411</c:v>
                </c:pt>
                <c:pt idx="656">
                  <c:v>41414</c:v>
                </c:pt>
                <c:pt idx="657">
                  <c:v>41415</c:v>
                </c:pt>
                <c:pt idx="658">
                  <c:v>41416</c:v>
                </c:pt>
                <c:pt idx="659">
                  <c:v>41417</c:v>
                </c:pt>
                <c:pt idx="660">
                  <c:v>41418</c:v>
                </c:pt>
                <c:pt idx="661">
                  <c:v>41421</c:v>
                </c:pt>
                <c:pt idx="662">
                  <c:v>41422</c:v>
                </c:pt>
                <c:pt idx="663">
                  <c:v>41423</c:v>
                </c:pt>
                <c:pt idx="664">
                  <c:v>41424</c:v>
                </c:pt>
                <c:pt idx="665">
                  <c:v>41425</c:v>
                </c:pt>
                <c:pt idx="666">
                  <c:v>41428</c:v>
                </c:pt>
                <c:pt idx="667">
                  <c:v>41429</c:v>
                </c:pt>
                <c:pt idx="668">
                  <c:v>41430</c:v>
                </c:pt>
                <c:pt idx="669">
                  <c:v>41431</c:v>
                </c:pt>
                <c:pt idx="670">
                  <c:v>41432</c:v>
                </c:pt>
                <c:pt idx="671">
                  <c:v>41435</c:v>
                </c:pt>
                <c:pt idx="672">
                  <c:v>41436</c:v>
                </c:pt>
                <c:pt idx="673">
                  <c:v>41437</c:v>
                </c:pt>
                <c:pt idx="674">
                  <c:v>41438</c:v>
                </c:pt>
                <c:pt idx="675">
                  <c:v>41439</c:v>
                </c:pt>
                <c:pt idx="676">
                  <c:v>41442</c:v>
                </c:pt>
                <c:pt idx="677">
                  <c:v>41443</c:v>
                </c:pt>
                <c:pt idx="678">
                  <c:v>41444</c:v>
                </c:pt>
                <c:pt idx="679">
                  <c:v>41445</c:v>
                </c:pt>
                <c:pt idx="680">
                  <c:v>41446</c:v>
                </c:pt>
                <c:pt idx="681">
                  <c:v>41449</c:v>
                </c:pt>
                <c:pt idx="682">
                  <c:v>41450</c:v>
                </c:pt>
                <c:pt idx="683">
                  <c:v>41451</c:v>
                </c:pt>
                <c:pt idx="684">
                  <c:v>41452</c:v>
                </c:pt>
                <c:pt idx="685">
                  <c:v>41453</c:v>
                </c:pt>
                <c:pt idx="686">
                  <c:v>41456</c:v>
                </c:pt>
                <c:pt idx="687">
                  <c:v>41457</c:v>
                </c:pt>
                <c:pt idx="688">
                  <c:v>41458</c:v>
                </c:pt>
                <c:pt idx="689">
                  <c:v>41459</c:v>
                </c:pt>
                <c:pt idx="690">
                  <c:v>41460</c:v>
                </c:pt>
                <c:pt idx="691">
                  <c:v>41463</c:v>
                </c:pt>
                <c:pt idx="692">
                  <c:v>41464</c:v>
                </c:pt>
                <c:pt idx="693">
                  <c:v>41465</c:v>
                </c:pt>
                <c:pt idx="694">
                  <c:v>41466</c:v>
                </c:pt>
                <c:pt idx="695">
                  <c:v>41467</c:v>
                </c:pt>
                <c:pt idx="696">
                  <c:v>41470</c:v>
                </c:pt>
                <c:pt idx="697">
                  <c:v>41471</c:v>
                </c:pt>
                <c:pt idx="698">
                  <c:v>41472</c:v>
                </c:pt>
                <c:pt idx="699">
                  <c:v>41473</c:v>
                </c:pt>
                <c:pt idx="700">
                  <c:v>41474</c:v>
                </c:pt>
                <c:pt idx="701">
                  <c:v>41477</c:v>
                </c:pt>
                <c:pt idx="702">
                  <c:v>41478</c:v>
                </c:pt>
                <c:pt idx="703">
                  <c:v>41479</c:v>
                </c:pt>
                <c:pt idx="704">
                  <c:v>41480</c:v>
                </c:pt>
                <c:pt idx="705">
                  <c:v>41481</c:v>
                </c:pt>
                <c:pt idx="706">
                  <c:v>41484</c:v>
                </c:pt>
                <c:pt idx="707">
                  <c:v>41485</c:v>
                </c:pt>
                <c:pt idx="708">
                  <c:v>41486</c:v>
                </c:pt>
                <c:pt idx="709">
                  <c:v>41487</c:v>
                </c:pt>
                <c:pt idx="710">
                  <c:v>41488</c:v>
                </c:pt>
                <c:pt idx="711">
                  <c:v>41491</c:v>
                </c:pt>
                <c:pt idx="712">
                  <c:v>41492</c:v>
                </c:pt>
                <c:pt idx="713">
                  <c:v>41493</c:v>
                </c:pt>
                <c:pt idx="714">
                  <c:v>41494</c:v>
                </c:pt>
                <c:pt idx="715">
                  <c:v>41495</c:v>
                </c:pt>
                <c:pt idx="716">
                  <c:v>41498</c:v>
                </c:pt>
                <c:pt idx="717">
                  <c:v>41499</c:v>
                </c:pt>
                <c:pt idx="718">
                  <c:v>41500</c:v>
                </c:pt>
                <c:pt idx="719">
                  <c:v>41501</c:v>
                </c:pt>
                <c:pt idx="720">
                  <c:v>41502</c:v>
                </c:pt>
                <c:pt idx="721">
                  <c:v>41505</c:v>
                </c:pt>
                <c:pt idx="722">
                  <c:v>41506</c:v>
                </c:pt>
                <c:pt idx="723">
                  <c:v>41507</c:v>
                </c:pt>
                <c:pt idx="724">
                  <c:v>41508</c:v>
                </c:pt>
                <c:pt idx="725">
                  <c:v>41509</c:v>
                </c:pt>
                <c:pt idx="726">
                  <c:v>41512</c:v>
                </c:pt>
                <c:pt idx="727">
                  <c:v>41513</c:v>
                </c:pt>
                <c:pt idx="728">
                  <c:v>41514</c:v>
                </c:pt>
                <c:pt idx="729">
                  <c:v>41515</c:v>
                </c:pt>
                <c:pt idx="730">
                  <c:v>41516</c:v>
                </c:pt>
                <c:pt idx="731">
                  <c:v>41519</c:v>
                </c:pt>
                <c:pt idx="732">
                  <c:v>41520</c:v>
                </c:pt>
                <c:pt idx="733">
                  <c:v>41521</c:v>
                </c:pt>
                <c:pt idx="734">
                  <c:v>41522</c:v>
                </c:pt>
                <c:pt idx="735">
                  <c:v>41523</c:v>
                </c:pt>
                <c:pt idx="736">
                  <c:v>41526</c:v>
                </c:pt>
                <c:pt idx="737">
                  <c:v>41527</c:v>
                </c:pt>
                <c:pt idx="738">
                  <c:v>41528</c:v>
                </c:pt>
                <c:pt idx="739">
                  <c:v>41529</c:v>
                </c:pt>
                <c:pt idx="740">
                  <c:v>41530</c:v>
                </c:pt>
                <c:pt idx="741">
                  <c:v>41533</c:v>
                </c:pt>
                <c:pt idx="742">
                  <c:v>41534</c:v>
                </c:pt>
                <c:pt idx="743">
                  <c:v>41535</c:v>
                </c:pt>
                <c:pt idx="744">
                  <c:v>41536</c:v>
                </c:pt>
                <c:pt idx="745">
                  <c:v>41537</c:v>
                </c:pt>
                <c:pt idx="746">
                  <c:v>41540</c:v>
                </c:pt>
                <c:pt idx="747">
                  <c:v>41541</c:v>
                </c:pt>
                <c:pt idx="748">
                  <c:v>41542</c:v>
                </c:pt>
                <c:pt idx="749">
                  <c:v>41543</c:v>
                </c:pt>
                <c:pt idx="750">
                  <c:v>41544</c:v>
                </c:pt>
                <c:pt idx="751">
                  <c:v>41547</c:v>
                </c:pt>
                <c:pt idx="752">
                  <c:v>41548</c:v>
                </c:pt>
                <c:pt idx="753">
                  <c:v>41549</c:v>
                </c:pt>
                <c:pt idx="754">
                  <c:v>41550</c:v>
                </c:pt>
                <c:pt idx="755">
                  <c:v>41551</c:v>
                </c:pt>
                <c:pt idx="756">
                  <c:v>41554</c:v>
                </c:pt>
                <c:pt idx="757">
                  <c:v>41555</c:v>
                </c:pt>
                <c:pt idx="758">
                  <c:v>41556</c:v>
                </c:pt>
                <c:pt idx="759">
                  <c:v>41557</c:v>
                </c:pt>
                <c:pt idx="760">
                  <c:v>41558</c:v>
                </c:pt>
                <c:pt idx="761">
                  <c:v>41561</c:v>
                </c:pt>
                <c:pt idx="762">
                  <c:v>41562</c:v>
                </c:pt>
                <c:pt idx="763">
                  <c:v>41563</c:v>
                </c:pt>
                <c:pt idx="764">
                  <c:v>41564</c:v>
                </c:pt>
                <c:pt idx="765">
                  <c:v>41565</c:v>
                </c:pt>
                <c:pt idx="766">
                  <c:v>41568</c:v>
                </c:pt>
                <c:pt idx="767">
                  <c:v>41569</c:v>
                </c:pt>
                <c:pt idx="768">
                  <c:v>41570</c:v>
                </c:pt>
                <c:pt idx="769">
                  <c:v>41571</c:v>
                </c:pt>
                <c:pt idx="770">
                  <c:v>41572</c:v>
                </c:pt>
                <c:pt idx="771">
                  <c:v>41575</c:v>
                </c:pt>
                <c:pt idx="772">
                  <c:v>41576</c:v>
                </c:pt>
                <c:pt idx="773">
                  <c:v>41577</c:v>
                </c:pt>
                <c:pt idx="774">
                  <c:v>41578</c:v>
                </c:pt>
                <c:pt idx="775">
                  <c:v>41579</c:v>
                </c:pt>
                <c:pt idx="776">
                  <c:v>41582</c:v>
                </c:pt>
                <c:pt idx="777">
                  <c:v>41583</c:v>
                </c:pt>
                <c:pt idx="778">
                  <c:v>41584</c:v>
                </c:pt>
                <c:pt idx="779">
                  <c:v>41585</c:v>
                </c:pt>
                <c:pt idx="780">
                  <c:v>41586</c:v>
                </c:pt>
                <c:pt idx="781">
                  <c:v>41589</c:v>
                </c:pt>
                <c:pt idx="782">
                  <c:v>41590</c:v>
                </c:pt>
                <c:pt idx="783">
                  <c:v>41591</c:v>
                </c:pt>
                <c:pt idx="784">
                  <c:v>41592</c:v>
                </c:pt>
                <c:pt idx="785">
                  <c:v>41593</c:v>
                </c:pt>
                <c:pt idx="786">
                  <c:v>41596</c:v>
                </c:pt>
                <c:pt idx="787">
                  <c:v>41597</c:v>
                </c:pt>
                <c:pt idx="788">
                  <c:v>41598</c:v>
                </c:pt>
                <c:pt idx="789">
                  <c:v>41599</c:v>
                </c:pt>
                <c:pt idx="790">
                  <c:v>41600</c:v>
                </c:pt>
                <c:pt idx="791">
                  <c:v>41603</c:v>
                </c:pt>
                <c:pt idx="792">
                  <c:v>41604</c:v>
                </c:pt>
                <c:pt idx="793">
                  <c:v>41605</c:v>
                </c:pt>
                <c:pt idx="794">
                  <c:v>41606</c:v>
                </c:pt>
                <c:pt idx="795">
                  <c:v>41607</c:v>
                </c:pt>
                <c:pt idx="796">
                  <c:v>41610</c:v>
                </c:pt>
                <c:pt idx="797">
                  <c:v>41611</c:v>
                </c:pt>
                <c:pt idx="798">
                  <c:v>41612</c:v>
                </c:pt>
                <c:pt idx="799">
                  <c:v>41613</c:v>
                </c:pt>
                <c:pt idx="800">
                  <c:v>41614</c:v>
                </c:pt>
                <c:pt idx="801">
                  <c:v>41617</c:v>
                </c:pt>
                <c:pt idx="802">
                  <c:v>41618</c:v>
                </c:pt>
                <c:pt idx="803">
                  <c:v>41619</c:v>
                </c:pt>
                <c:pt idx="804">
                  <c:v>41620</c:v>
                </c:pt>
                <c:pt idx="805">
                  <c:v>41621</c:v>
                </c:pt>
                <c:pt idx="806">
                  <c:v>41624</c:v>
                </c:pt>
                <c:pt idx="807">
                  <c:v>41625</c:v>
                </c:pt>
                <c:pt idx="808">
                  <c:v>41626</c:v>
                </c:pt>
                <c:pt idx="809">
                  <c:v>41627</c:v>
                </c:pt>
                <c:pt idx="810">
                  <c:v>41628</c:v>
                </c:pt>
                <c:pt idx="811">
                  <c:v>41631</c:v>
                </c:pt>
                <c:pt idx="812">
                  <c:v>41632</c:v>
                </c:pt>
                <c:pt idx="813">
                  <c:v>41635</c:v>
                </c:pt>
                <c:pt idx="814">
                  <c:v>41638</c:v>
                </c:pt>
                <c:pt idx="815">
                  <c:v>41639</c:v>
                </c:pt>
                <c:pt idx="816">
                  <c:v>41641</c:v>
                </c:pt>
                <c:pt idx="817">
                  <c:v>41642</c:v>
                </c:pt>
                <c:pt idx="818">
                  <c:v>41645</c:v>
                </c:pt>
                <c:pt idx="819">
                  <c:v>41646</c:v>
                </c:pt>
                <c:pt idx="820">
                  <c:v>41647</c:v>
                </c:pt>
                <c:pt idx="821">
                  <c:v>41648</c:v>
                </c:pt>
                <c:pt idx="822">
                  <c:v>41649</c:v>
                </c:pt>
                <c:pt idx="823">
                  <c:v>41652</c:v>
                </c:pt>
                <c:pt idx="824">
                  <c:v>41653</c:v>
                </c:pt>
                <c:pt idx="825">
                  <c:v>41654</c:v>
                </c:pt>
                <c:pt idx="826">
                  <c:v>41655</c:v>
                </c:pt>
                <c:pt idx="827">
                  <c:v>41656</c:v>
                </c:pt>
                <c:pt idx="828">
                  <c:v>41659</c:v>
                </c:pt>
                <c:pt idx="829">
                  <c:v>41660</c:v>
                </c:pt>
                <c:pt idx="830">
                  <c:v>41661</c:v>
                </c:pt>
                <c:pt idx="831">
                  <c:v>41662</c:v>
                </c:pt>
                <c:pt idx="832">
                  <c:v>41663</c:v>
                </c:pt>
                <c:pt idx="833">
                  <c:v>41666</c:v>
                </c:pt>
                <c:pt idx="834">
                  <c:v>41667</c:v>
                </c:pt>
                <c:pt idx="835">
                  <c:v>41668</c:v>
                </c:pt>
                <c:pt idx="836">
                  <c:v>41669</c:v>
                </c:pt>
                <c:pt idx="837">
                  <c:v>41670</c:v>
                </c:pt>
                <c:pt idx="838">
                  <c:v>41673</c:v>
                </c:pt>
                <c:pt idx="839">
                  <c:v>41674</c:v>
                </c:pt>
                <c:pt idx="840">
                  <c:v>41675</c:v>
                </c:pt>
                <c:pt idx="841">
                  <c:v>41676</c:v>
                </c:pt>
                <c:pt idx="842">
                  <c:v>41677</c:v>
                </c:pt>
                <c:pt idx="843">
                  <c:v>41680</c:v>
                </c:pt>
                <c:pt idx="844">
                  <c:v>41681</c:v>
                </c:pt>
                <c:pt idx="845">
                  <c:v>41682</c:v>
                </c:pt>
                <c:pt idx="846">
                  <c:v>41683</c:v>
                </c:pt>
                <c:pt idx="847">
                  <c:v>41684</c:v>
                </c:pt>
                <c:pt idx="848">
                  <c:v>41687</c:v>
                </c:pt>
                <c:pt idx="849">
                  <c:v>41688</c:v>
                </c:pt>
                <c:pt idx="850">
                  <c:v>41689</c:v>
                </c:pt>
                <c:pt idx="851">
                  <c:v>41690</c:v>
                </c:pt>
                <c:pt idx="852">
                  <c:v>41691</c:v>
                </c:pt>
                <c:pt idx="853">
                  <c:v>41694</c:v>
                </c:pt>
                <c:pt idx="854">
                  <c:v>41695</c:v>
                </c:pt>
                <c:pt idx="855">
                  <c:v>41696</c:v>
                </c:pt>
                <c:pt idx="856">
                  <c:v>41697</c:v>
                </c:pt>
                <c:pt idx="857">
                  <c:v>41698</c:v>
                </c:pt>
                <c:pt idx="858">
                  <c:v>41701</c:v>
                </c:pt>
                <c:pt idx="859">
                  <c:v>41702</c:v>
                </c:pt>
                <c:pt idx="860">
                  <c:v>41703</c:v>
                </c:pt>
                <c:pt idx="861">
                  <c:v>41704</c:v>
                </c:pt>
                <c:pt idx="862">
                  <c:v>41705</c:v>
                </c:pt>
                <c:pt idx="863">
                  <c:v>41708</c:v>
                </c:pt>
                <c:pt idx="864">
                  <c:v>41709</c:v>
                </c:pt>
                <c:pt idx="865">
                  <c:v>41710</c:v>
                </c:pt>
                <c:pt idx="866">
                  <c:v>41711</c:v>
                </c:pt>
                <c:pt idx="867">
                  <c:v>41712</c:v>
                </c:pt>
                <c:pt idx="868">
                  <c:v>41715</c:v>
                </c:pt>
                <c:pt idx="869">
                  <c:v>41716</c:v>
                </c:pt>
                <c:pt idx="870">
                  <c:v>41717</c:v>
                </c:pt>
                <c:pt idx="871">
                  <c:v>41718</c:v>
                </c:pt>
                <c:pt idx="872">
                  <c:v>41719</c:v>
                </c:pt>
                <c:pt idx="873">
                  <c:v>41722</c:v>
                </c:pt>
                <c:pt idx="874">
                  <c:v>41723</c:v>
                </c:pt>
                <c:pt idx="875">
                  <c:v>41724</c:v>
                </c:pt>
                <c:pt idx="876">
                  <c:v>41725</c:v>
                </c:pt>
                <c:pt idx="877">
                  <c:v>41726</c:v>
                </c:pt>
                <c:pt idx="878">
                  <c:v>41729</c:v>
                </c:pt>
                <c:pt idx="879">
                  <c:v>41730</c:v>
                </c:pt>
                <c:pt idx="880">
                  <c:v>41731</c:v>
                </c:pt>
                <c:pt idx="881">
                  <c:v>41732</c:v>
                </c:pt>
                <c:pt idx="882">
                  <c:v>41733</c:v>
                </c:pt>
                <c:pt idx="883">
                  <c:v>41736</c:v>
                </c:pt>
                <c:pt idx="884">
                  <c:v>41737</c:v>
                </c:pt>
                <c:pt idx="885">
                  <c:v>41738</c:v>
                </c:pt>
                <c:pt idx="886">
                  <c:v>41739</c:v>
                </c:pt>
                <c:pt idx="887">
                  <c:v>41740</c:v>
                </c:pt>
                <c:pt idx="888">
                  <c:v>41743</c:v>
                </c:pt>
                <c:pt idx="889">
                  <c:v>41744</c:v>
                </c:pt>
                <c:pt idx="890">
                  <c:v>41745</c:v>
                </c:pt>
                <c:pt idx="891">
                  <c:v>41746</c:v>
                </c:pt>
                <c:pt idx="892">
                  <c:v>41751</c:v>
                </c:pt>
                <c:pt idx="893">
                  <c:v>41752</c:v>
                </c:pt>
                <c:pt idx="894">
                  <c:v>41753</c:v>
                </c:pt>
                <c:pt idx="895">
                  <c:v>41754</c:v>
                </c:pt>
                <c:pt idx="896">
                  <c:v>41757</c:v>
                </c:pt>
                <c:pt idx="897">
                  <c:v>41758</c:v>
                </c:pt>
                <c:pt idx="898">
                  <c:v>41759</c:v>
                </c:pt>
                <c:pt idx="899">
                  <c:v>41760</c:v>
                </c:pt>
                <c:pt idx="900">
                  <c:v>41761</c:v>
                </c:pt>
                <c:pt idx="901">
                  <c:v>41764</c:v>
                </c:pt>
                <c:pt idx="902">
                  <c:v>41765</c:v>
                </c:pt>
                <c:pt idx="903">
                  <c:v>41766</c:v>
                </c:pt>
                <c:pt idx="904">
                  <c:v>41767</c:v>
                </c:pt>
                <c:pt idx="905">
                  <c:v>41768</c:v>
                </c:pt>
                <c:pt idx="906">
                  <c:v>41771</c:v>
                </c:pt>
                <c:pt idx="907">
                  <c:v>41772</c:v>
                </c:pt>
                <c:pt idx="908">
                  <c:v>41773</c:v>
                </c:pt>
                <c:pt idx="909">
                  <c:v>41774</c:v>
                </c:pt>
                <c:pt idx="910">
                  <c:v>41775</c:v>
                </c:pt>
                <c:pt idx="911">
                  <c:v>41778</c:v>
                </c:pt>
                <c:pt idx="912">
                  <c:v>41779</c:v>
                </c:pt>
                <c:pt idx="913">
                  <c:v>41780</c:v>
                </c:pt>
                <c:pt idx="914">
                  <c:v>41781</c:v>
                </c:pt>
                <c:pt idx="915">
                  <c:v>41782</c:v>
                </c:pt>
                <c:pt idx="916">
                  <c:v>41785</c:v>
                </c:pt>
                <c:pt idx="917">
                  <c:v>41786</c:v>
                </c:pt>
                <c:pt idx="918">
                  <c:v>41787</c:v>
                </c:pt>
                <c:pt idx="919">
                  <c:v>41788</c:v>
                </c:pt>
                <c:pt idx="920">
                  <c:v>41789</c:v>
                </c:pt>
                <c:pt idx="921">
                  <c:v>41792</c:v>
                </c:pt>
                <c:pt idx="922">
                  <c:v>41793</c:v>
                </c:pt>
                <c:pt idx="923">
                  <c:v>41794</c:v>
                </c:pt>
                <c:pt idx="924">
                  <c:v>41795</c:v>
                </c:pt>
                <c:pt idx="925">
                  <c:v>41796</c:v>
                </c:pt>
                <c:pt idx="926">
                  <c:v>41799</c:v>
                </c:pt>
                <c:pt idx="927">
                  <c:v>41800</c:v>
                </c:pt>
                <c:pt idx="928">
                  <c:v>41801</c:v>
                </c:pt>
                <c:pt idx="929">
                  <c:v>41802</c:v>
                </c:pt>
                <c:pt idx="930">
                  <c:v>41803</c:v>
                </c:pt>
                <c:pt idx="931">
                  <c:v>41806</c:v>
                </c:pt>
                <c:pt idx="932">
                  <c:v>41807</c:v>
                </c:pt>
                <c:pt idx="933">
                  <c:v>41808</c:v>
                </c:pt>
                <c:pt idx="934">
                  <c:v>41809</c:v>
                </c:pt>
                <c:pt idx="935">
                  <c:v>41810</c:v>
                </c:pt>
                <c:pt idx="936">
                  <c:v>41813</c:v>
                </c:pt>
                <c:pt idx="937">
                  <c:v>41814</c:v>
                </c:pt>
                <c:pt idx="938">
                  <c:v>41815</c:v>
                </c:pt>
                <c:pt idx="939">
                  <c:v>41816</c:v>
                </c:pt>
                <c:pt idx="940">
                  <c:v>41817</c:v>
                </c:pt>
                <c:pt idx="941">
                  <c:v>41820</c:v>
                </c:pt>
                <c:pt idx="942">
                  <c:v>41821</c:v>
                </c:pt>
                <c:pt idx="943">
                  <c:v>41822</c:v>
                </c:pt>
                <c:pt idx="944">
                  <c:v>41823</c:v>
                </c:pt>
                <c:pt idx="945">
                  <c:v>41824</c:v>
                </c:pt>
                <c:pt idx="946">
                  <c:v>41827</c:v>
                </c:pt>
                <c:pt idx="947">
                  <c:v>41828</c:v>
                </c:pt>
                <c:pt idx="948">
                  <c:v>41829</c:v>
                </c:pt>
                <c:pt idx="949">
                  <c:v>41830</c:v>
                </c:pt>
                <c:pt idx="950">
                  <c:v>41831</c:v>
                </c:pt>
                <c:pt idx="951">
                  <c:v>41834</c:v>
                </c:pt>
                <c:pt idx="952">
                  <c:v>41835</c:v>
                </c:pt>
                <c:pt idx="953">
                  <c:v>41836</c:v>
                </c:pt>
                <c:pt idx="954">
                  <c:v>41837</c:v>
                </c:pt>
                <c:pt idx="955">
                  <c:v>41838</c:v>
                </c:pt>
                <c:pt idx="956">
                  <c:v>41841</c:v>
                </c:pt>
                <c:pt idx="957">
                  <c:v>41842</c:v>
                </c:pt>
                <c:pt idx="958">
                  <c:v>41843</c:v>
                </c:pt>
                <c:pt idx="959">
                  <c:v>41844</c:v>
                </c:pt>
                <c:pt idx="960">
                  <c:v>41845</c:v>
                </c:pt>
                <c:pt idx="961">
                  <c:v>41848</c:v>
                </c:pt>
                <c:pt idx="962">
                  <c:v>41849</c:v>
                </c:pt>
                <c:pt idx="963">
                  <c:v>41850</c:v>
                </c:pt>
                <c:pt idx="964">
                  <c:v>41851</c:v>
                </c:pt>
                <c:pt idx="965">
                  <c:v>41852</c:v>
                </c:pt>
                <c:pt idx="966">
                  <c:v>41855</c:v>
                </c:pt>
                <c:pt idx="967">
                  <c:v>41856</c:v>
                </c:pt>
                <c:pt idx="968">
                  <c:v>41857</c:v>
                </c:pt>
                <c:pt idx="969">
                  <c:v>41858</c:v>
                </c:pt>
                <c:pt idx="970">
                  <c:v>41859</c:v>
                </c:pt>
                <c:pt idx="971">
                  <c:v>41862</c:v>
                </c:pt>
                <c:pt idx="972">
                  <c:v>41863</c:v>
                </c:pt>
                <c:pt idx="973">
                  <c:v>41864</c:v>
                </c:pt>
                <c:pt idx="974">
                  <c:v>41865</c:v>
                </c:pt>
                <c:pt idx="975">
                  <c:v>41866</c:v>
                </c:pt>
                <c:pt idx="976">
                  <c:v>41869</c:v>
                </c:pt>
                <c:pt idx="977">
                  <c:v>41870</c:v>
                </c:pt>
                <c:pt idx="978">
                  <c:v>41871</c:v>
                </c:pt>
                <c:pt idx="979">
                  <c:v>41872</c:v>
                </c:pt>
                <c:pt idx="980">
                  <c:v>41873</c:v>
                </c:pt>
                <c:pt idx="981">
                  <c:v>41876</c:v>
                </c:pt>
                <c:pt idx="982">
                  <c:v>41877</c:v>
                </c:pt>
                <c:pt idx="983">
                  <c:v>41878</c:v>
                </c:pt>
                <c:pt idx="984">
                  <c:v>41879</c:v>
                </c:pt>
                <c:pt idx="985">
                  <c:v>41880</c:v>
                </c:pt>
                <c:pt idx="986">
                  <c:v>41883</c:v>
                </c:pt>
                <c:pt idx="987">
                  <c:v>41884</c:v>
                </c:pt>
                <c:pt idx="988">
                  <c:v>41885</c:v>
                </c:pt>
                <c:pt idx="989">
                  <c:v>41886</c:v>
                </c:pt>
                <c:pt idx="990">
                  <c:v>41887</c:v>
                </c:pt>
                <c:pt idx="991">
                  <c:v>41890</c:v>
                </c:pt>
                <c:pt idx="992">
                  <c:v>41891</c:v>
                </c:pt>
                <c:pt idx="993">
                  <c:v>41892</c:v>
                </c:pt>
                <c:pt idx="994">
                  <c:v>41893</c:v>
                </c:pt>
                <c:pt idx="995">
                  <c:v>41894</c:v>
                </c:pt>
                <c:pt idx="996">
                  <c:v>41897</c:v>
                </c:pt>
                <c:pt idx="997">
                  <c:v>41898</c:v>
                </c:pt>
                <c:pt idx="998">
                  <c:v>41899</c:v>
                </c:pt>
                <c:pt idx="999">
                  <c:v>41900</c:v>
                </c:pt>
                <c:pt idx="1000">
                  <c:v>41901</c:v>
                </c:pt>
                <c:pt idx="1001">
                  <c:v>41904</c:v>
                </c:pt>
                <c:pt idx="1002">
                  <c:v>41905</c:v>
                </c:pt>
                <c:pt idx="1003">
                  <c:v>41906</c:v>
                </c:pt>
                <c:pt idx="1004">
                  <c:v>41907</c:v>
                </c:pt>
                <c:pt idx="1005">
                  <c:v>41908</c:v>
                </c:pt>
                <c:pt idx="1006">
                  <c:v>41911</c:v>
                </c:pt>
                <c:pt idx="1007">
                  <c:v>41912</c:v>
                </c:pt>
                <c:pt idx="1008">
                  <c:v>41913</c:v>
                </c:pt>
                <c:pt idx="1009">
                  <c:v>41914</c:v>
                </c:pt>
                <c:pt idx="1010">
                  <c:v>41915</c:v>
                </c:pt>
                <c:pt idx="1011">
                  <c:v>41918</c:v>
                </c:pt>
                <c:pt idx="1012">
                  <c:v>41919</c:v>
                </c:pt>
                <c:pt idx="1013">
                  <c:v>41920</c:v>
                </c:pt>
                <c:pt idx="1014">
                  <c:v>41921</c:v>
                </c:pt>
                <c:pt idx="1015">
                  <c:v>41922</c:v>
                </c:pt>
                <c:pt idx="1016">
                  <c:v>41925</c:v>
                </c:pt>
                <c:pt idx="1017">
                  <c:v>41926</c:v>
                </c:pt>
                <c:pt idx="1018">
                  <c:v>41927</c:v>
                </c:pt>
                <c:pt idx="1019">
                  <c:v>41928</c:v>
                </c:pt>
                <c:pt idx="1020">
                  <c:v>41929</c:v>
                </c:pt>
                <c:pt idx="1021">
                  <c:v>41932</c:v>
                </c:pt>
                <c:pt idx="1022">
                  <c:v>41933</c:v>
                </c:pt>
                <c:pt idx="1023">
                  <c:v>41934</c:v>
                </c:pt>
                <c:pt idx="1024">
                  <c:v>41935</c:v>
                </c:pt>
                <c:pt idx="1025">
                  <c:v>41936</c:v>
                </c:pt>
                <c:pt idx="1026">
                  <c:v>41939</c:v>
                </c:pt>
                <c:pt idx="1027">
                  <c:v>41940</c:v>
                </c:pt>
                <c:pt idx="1028">
                  <c:v>41941</c:v>
                </c:pt>
                <c:pt idx="1029">
                  <c:v>41942</c:v>
                </c:pt>
                <c:pt idx="1030">
                  <c:v>41943</c:v>
                </c:pt>
                <c:pt idx="1031">
                  <c:v>41946</c:v>
                </c:pt>
                <c:pt idx="1032">
                  <c:v>41947</c:v>
                </c:pt>
                <c:pt idx="1033">
                  <c:v>41948</c:v>
                </c:pt>
                <c:pt idx="1034">
                  <c:v>41949</c:v>
                </c:pt>
                <c:pt idx="1035">
                  <c:v>41950</c:v>
                </c:pt>
                <c:pt idx="1036">
                  <c:v>41953</c:v>
                </c:pt>
                <c:pt idx="1037">
                  <c:v>41954</c:v>
                </c:pt>
                <c:pt idx="1038">
                  <c:v>41955</c:v>
                </c:pt>
                <c:pt idx="1039">
                  <c:v>41956</c:v>
                </c:pt>
                <c:pt idx="1040">
                  <c:v>41957</c:v>
                </c:pt>
                <c:pt idx="1041">
                  <c:v>41960</c:v>
                </c:pt>
                <c:pt idx="1042">
                  <c:v>41961</c:v>
                </c:pt>
                <c:pt idx="1043">
                  <c:v>41962</c:v>
                </c:pt>
                <c:pt idx="1044">
                  <c:v>41963</c:v>
                </c:pt>
                <c:pt idx="1045">
                  <c:v>41964</c:v>
                </c:pt>
                <c:pt idx="1046">
                  <c:v>41967</c:v>
                </c:pt>
                <c:pt idx="1047">
                  <c:v>41968</c:v>
                </c:pt>
                <c:pt idx="1048">
                  <c:v>41969</c:v>
                </c:pt>
                <c:pt idx="1049">
                  <c:v>41970</c:v>
                </c:pt>
                <c:pt idx="1050">
                  <c:v>41971</c:v>
                </c:pt>
                <c:pt idx="1051">
                  <c:v>41974</c:v>
                </c:pt>
                <c:pt idx="1052">
                  <c:v>41975</c:v>
                </c:pt>
                <c:pt idx="1053">
                  <c:v>41976</c:v>
                </c:pt>
                <c:pt idx="1054">
                  <c:v>41977</c:v>
                </c:pt>
                <c:pt idx="1055">
                  <c:v>41978</c:v>
                </c:pt>
                <c:pt idx="1056">
                  <c:v>41981</c:v>
                </c:pt>
                <c:pt idx="1057">
                  <c:v>41982</c:v>
                </c:pt>
                <c:pt idx="1058">
                  <c:v>41983</c:v>
                </c:pt>
                <c:pt idx="1059">
                  <c:v>41984</c:v>
                </c:pt>
                <c:pt idx="1060">
                  <c:v>41985</c:v>
                </c:pt>
                <c:pt idx="1061">
                  <c:v>41988</c:v>
                </c:pt>
                <c:pt idx="1062">
                  <c:v>41989</c:v>
                </c:pt>
                <c:pt idx="1063">
                  <c:v>41990</c:v>
                </c:pt>
                <c:pt idx="1064">
                  <c:v>41991</c:v>
                </c:pt>
                <c:pt idx="1065">
                  <c:v>41992</c:v>
                </c:pt>
                <c:pt idx="1066">
                  <c:v>41995</c:v>
                </c:pt>
                <c:pt idx="1067">
                  <c:v>41996</c:v>
                </c:pt>
                <c:pt idx="1068">
                  <c:v>41997</c:v>
                </c:pt>
                <c:pt idx="1069">
                  <c:v>42002</c:v>
                </c:pt>
                <c:pt idx="1070">
                  <c:v>42003</c:v>
                </c:pt>
                <c:pt idx="1071">
                  <c:v>42004</c:v>
                </c:pt>
                <c:pt idx="1072">
                  <c:v>42006</c:v>
                </c:pt>
                <c:pt idx="1073">
                  <c:v>42009</c:v>
                </c:pt>
                <c:pt idx="1074">
                  <c:v>42010</c:v>
                </c:pt>
                <c:pt idx="1075">
                  <c:v>42011</c:v>
                </c:pt>
                <c:pt idx="1076">
                  <c:v>42012</c:v>
                </c:pt>
                <c:pt idx="1077">
                  <c:v>42013</c:v>
                </c:pt>
                <c:pt idx="1078">
                  <c:v>42016</c:v>
                </c:pt>
                <c:pt idx="1079">
                  <c:v>42017</c:v>
                </c:pt>
                <c:pt idx="1080">
                  <c:v>42018</c:v>
                </c:pt>
                <c:pt idx="1081">
                  <c:v>42019</c:v>
                </c:pt>
                <c:pt idx="1082">
                  <c:v>42020</c:v>
                </c:pt>
                <c:pt idx="1083">
                  <c:v>42023</c:v>
                </c:pt>
                <c:pt idx="1084">
                  <c:v>42024</c:v>
                </c:pt>
                <c:pt idx="1085">
                  <c:v>42025</c:v>
                </c:pt>
                <c:pt idx="1086">
                  <c:v>42026</c:v>
                </c:pt>
                <c:pt idx="1087">
                  <c:v>42027</c:v>
                </c:pt>
                <c:pt idx="1088">
                  <c:v>42030</c:v>
                </c:pt>
                <c:pt idx="1089">
                  <c:v>42031</c:v>
                </c:pt>
                <c:pt idx="1090">
                  <c:v>42032</c:v>
                </c:pt>
                <c:pt idx="1091">
                  <c:v>42033</c:v>
                </c:pt>
                <c:pt idx="1092">
                  <c:v>42034</c:v>
                </c:pt>
                <c:pt idx="1093">
                  <c:v>42037</c:v>
                </c:pt>
                <c:pt idx="1094">
                  <c:v>42038</c:v>
                </c:pt>
                <c:pt idx="1095">
                  <c:v>42039</c:v>
                </c:pt>
                <c:pt idx="1096">
                  <c:v>42040</c:v>
                </c:pt>
                <c:pt idx="1097">
                  <c:v>42041</c:v>
                </c:pt>
                <c:pt idx="1098">
                  <c:v>42044</c:v>
                </c:pt>
                <c:pt idx="1099">
                  <c:v>42045</c:v>
                </c:pt>
                <c:pt idx="1100">
                  <c:v>42046</c:v>
                </c:pt>
                <c:pt idx="1101">
                  <c:v>42047</c:v>
                </c:pt>
                <c:pt idx="1102">
                  <c:v>42048</c:v>
                </c:pt>
                <c:pt idx="1103">
                  <c:v>42051</c:v>
                </c:pt>
                <c:pt idx="1104">
                  <c:v>42052</c:v>
                </c:pt>
                <c:pt idx="1105">
                  <c:v>42053</c:v>
                </c:pt>
                <c:pt idx="1106">
                  <c:v>42054</c:v>
                </c:pt>
                <c:pt idx="1107">
                  <c:v>42055</c:v>
                </c:pt>
                <c:pt idx="1108">
                  <c:v>42058</c:v>
                </c:pt>
                <c:pt idx="1109">
                  <c:v>42059</c:v>
                </c:pt>
                <c:pt idx="1110">
                  <c:v>42060</c:v>
                </c:pt>
                <c:pt idx="1111">
                  <c:v>42061</c:v>
                </c:pt>
                <c:pt idx="1112">
                  <c:v>42062</c:v>
                </c:pt>
                <c:pt idx="1113">
                  <c:v>42065</c:v>
                </c:pt>
                <c:pt idx="1114">
                  <c:v>42066</c:v>
                </c:pt>
                <c:pt idx="1115">
                  <c:v>42067</c:v>
                </c:pt>
                <c:pt idx="1116">
                  <c:v>42068</c:v>
                </c:pt>
                <c:pt idx="1117">
                  <c:v>42069</c:v>
                </c:pt>
                <c:pt idx="1118">
                  <c:v>42072</c:v>
                </c:pt>
                <c:pt idx="1119">
                  <c:v>42073</c:v>
                </c:pt>
                <c:pt idx="1120">
                  <c:v>42074</c:v>
                </c:pt>
                <c:pt idx="1121">
                  <c:v>42075</c:v>
                </c:pt>
                <c:pt idx="1122">
                  <c:v>42076</c:v>
                </c:pt>
                <c:pt idx="1123">
                  <c:v>42079</c:v>
                </c:pt>
                <c:pt idx="1124">
                  <c:v>42080</c:v>
                </c:pt>
                <c:pt idx="1125">
                  <c:v>42081</c:v>
                </c:pt>
                <c:pt idx="1126">
                  <c:v>42082</c:v>
                </c:pt>
                <c:pt idx="1127">
                  <c:v>42083</c:v>
                </c:pt>
                <c:pt idx="1128">
                  <c:v>42086</c:v>
                </c:pt>
                <c:pt idx="1129">
                  <c:v>42087</c:v>
                </c:pt>
                <c:pt idx="1130">
                  <c:v>42088</c:v>
                </c:pt>
                <c:pt idx="1131">
                  <c:v>42089</c:v>
                </c:pt>
                <c:pt idx="1132">
                  <c:v>42090</c:v>
                </c:pt>
                <c:pt idx="1133">
                  <c:v>42093</c:v>
                </c:pt>
                <c:pt idx="1134">
                  <c:v>42094</c:v>
                </c:pt>
                <c:pt idx="1135">
                  <c:v>42095</c:v>
                </c:pt>
                <c:pt idx="1136">
                  <c:v>42096</c:v>
                </c:pt>
                <c:pt idx="1137">
                  <c:v>42101</c:v>
                </c:pt>
                <c:pt idx="1138">
                  <c:v>42102</c:v>
                </c:pt>
                <c:pt idx="1139">
                  <c:v>42103</c:v>
                </c:pt>
                <c:pt idx="1140">
                  <c:v>42104</c:v>
                </c:pt>
                <c:pt idx="1141">
                  <c:v>42107</c:v>
                </c:pt>
                <c:pt idx="1142">
                  <c:v>42108</c:v>
                </c:pt>
                <c:pt idx="1143">
                  <c:v>42109</c:v>
                </c:pt>
                <c:pt idx="1144">
                  <c:v>42110</c:v>
                </c:pt>
                <c:pt idx="1145">
                  <c:v>42111</c:v>
                </c:pt>
                <c:pt idx="1146">
                  <c:v>42114</c:v>
                </c:pt>
                <c:pt idx="1147">
                  <c:v>42115</c:v>
                </c:pt>
                <c:pt idx="1148">
                  <c:v>42116</c:v>
                </c:pt>
                <c:pt idx="1149">
                  <c:v>42117</c:v>
                </c:pt>
                <c:pt idx="1150">
                  <c:v>42118</c:v>
                </c:pt>
                <c:pt idx="1151">
                  <c:v>42121</c:v>
                </c:pt>
                <c:pt idx="1152">
                  <c:v>42122</c:v>
                </c:pt>
                <c:pt idx="1153">
                  <c:v>42123</c:v>
                </c:pt>
                <c:pt idx="1154">
                  <c:v>42124</c:v>
                </c:pt>
                <c:pt idx="1155">
                  <c:v>42125</c:v>
                </c:pt>
                <c:pt idx="1156">
                  <c:v>42128</c:v>
                </c:pt>
                <c:pt idx="1157">
                  <c:v>42129</c:v>
                </c:pt>
                <c:pt idx="1158">
                  <c:v>42130</c:v>
                </c:pt>
                <c:pt idx="1159">
                  <c:v>42131</c:v>
                </c:pt>
                <c:pt idx="1160">
                  <c:v>42132</c:v>
                </c:pt>
                <c:pt idx="1161">
                  <c:v>42135</c:v>
                </c:pt>
                <c:pt idx="1162">
                  <c:v>42136</c:v>
                </c:pt>
                <c:pt idx="1163">
                  <c:v>42137</c:v>
                </c:pt>
                <c:pt idx="1164">
                  <c:v>42138</c:v>
                </c:pt>
                <c:pt idx="1165">
                  <c:v>42139</c:v>
                </c:pt>
                <c:pt idx="1166">
                  <c:v>42142</c:v>
                </c:pt>
                <c:pt idx="1167">
                  <c:v>42143</c:v>
                </c:pt>
                <c:pt idx="1168">
                  <c:v>42144</c:v>
                </c:pt>
                <c:pt idx="1169">
                  <c:v>42145</c:v>
                </c:pt>
                <c:pt idx="1170">
                  <c:v>42146</c:v>
                </c:pt>
                <c:pt idx="1171">
                  <c:v>42149</c:v>
                </c:pt>
                <c:pt idx="1172">
                  <c:v>42150</c:v>
                </c:pt>
                <c:pt idx="1173">
                  <c:v>42151</c:v>
                </c:pt>
                <c:pt idx="1174">
                  <c:v>42152</c:v>
                </c:pt>
                <c:pt idx="1175">
                  <c:v>42153</c:v>
                </c:pt>
                <c:pt idx="1176">
                  <c:v>42156</c:v>
                </c:pt>
                <c:pt idx="1177">
                  <c:v>42157</c:v>
                </c:pt>
                <c:pt idx="1178">
                  <c:v>42158</c:v>
                </c:pt>
                <c:pt idx="1179">
                  <c:v>42159</c:v>
                </c:pt>
                <c:pt idx="1180">
                  <c:v>42160</c:v>
                </c:pt>
                <c:pt idx="1181">
                  <c:v>42163</c:v>
                </c:pt>
                <c:pt idx="1182">
                  <c:v>42164</c:v>
                </c:pt>
                <c:pt idx="1183">
                  <c:v>42165</c:v>
                </c:pt>
                <c:pt idx="1184">
                  <c:v>42166</c:v>
                </c:pt>
                <c:pt idx="1185">
                  <c:v>42167</c:v>
                </c:pt>
                <c:pt idx="1186">
                  <c:v>42170</c:v>
                </c:pt>
                <c:pt idx="1187">
                  <c:v>42171</c:v>
                </c:pt>
                <c:pt idx="1188">
                  <c:v>42172</c:v>
                </c:pt>
                <c:pt idx="1189">
                  <c:v>42173</c:v>
                </c:pt>
                <c:pt idx="1190">
                  <c:v>42174</c:v>
                </c:pt>
                <c:pt idx="1191">
                  <c:v>42177</c:v>
                </c:pt>
                <c:pt idx="1192">
                  <c:v>42178</c:v>
                </c:pt>
                <c:pt idx="1193">
                  <c:v>42179</c:v>
                </c:pt>
                <c:pt idx="1194">
                  <c:v>42180</c:v>
                </c:pt>
                <c:pt idx="1195">
                  <c:v>42181</c:v>
                </c:pt>
                <c:pt idx="1196">
                  <c:v>42184</c:v>
                </c:pt>
                <c:pt idx="1197">
                  <c:v>42185</c:v>
                </c:pt>
                <c:pt idx="1198">
                  <c:v>42186</c:v>
                </c:pt>
                <c:pt idx="1199">
                  <c:v>42187</c:v>
                </c:pt>
                <c:pt idx="1200">
                  <c:v>42188</c:v>
                </c:pt>
                <c:pt idx="1201">
                  <c:v>42191</c:v>
                </c:pt>
                <c:pt idx="1202">
                  <c:v>42192</c:v>
                </c:pt>
                <c:pt idx="1203">
                  <c:v>42193</c:v>
                </c:pt>
                <c:pt idx="1204">
                  <c:v>42194</c:v>
                </c:pt>
                <c:pt idx="1205">
                  <c:v>42195</c:v>
                </c:pt>
                <c:pt idx="1206">
                  <c:v>42198</c:v>
                </c:pt>
                <c:pt idx="1207">
                  <c:v>42199</c:v>
                </c:pt>
                <c:pt idx="1208">
                  <c:v>42200</c:v>
                </c:pt>
                <c:pt idx="1209">
                  <c:v>42201</c:v>
                </c:pt>
                <c:pt idx="1210">
                  <c:v>42202</c:v>
                </c:pt>
                <c:pt idx="1211">
                  <c:v>42205</c:v>
                </c:pt>
                <c:pt idx="1212">
                  <c:v>42206</c:v>
                </c:pt>
                <c:pt idx="1213">
                  <c:v>42207</c:v>
                </c:pt>
                <c:pt idx="1214">
                  <c:v>42208</c:v>
                </c:pt>
                <c:pt idx="1215">
                  <c:v>42209</c:v>
                </c:pt>
                <c:pt idx="1216">
                  <c:v>42212</c:v>
                </c:pt>
                <c:pt idx="1217">
                  <c:v>42213</c:v>
                </c:pt>
                <c:pt idx="1218">
                  <c:v>42214</c:v>
                </c:pt>
                <c:pt idx="1219">
                  <c:v>42215</c:v>
                </c:pt>
                <c:pt idx="1220">
                  <c:v>42216</c:v>
                </c:pt>
                <c:pt idx="1221">
                  <c:v>42219</c:v>
                </c:pt>
                <c:pt idx="1222">
                  <c:v>42220</c:v>
                </c:pt>
                <c:pt idx="1223">
                  <c:v>42221</c:v>
                </c:pt>
                <c:pt idx="1224">
                  <c:v>42222</c:v>
                </c:pt>
                <c:pt idx="1225">
                  <c:v>42223</c:v>
                </c:pt>
                <c:pt idx="1226">
                  <c:v>42226</c:v>
                </c:pt>
                <c:pt idx="1227">
                  <c:v>42227</c:v>
                </c:pt>
                <c:pt idx="1228">
                  <c:v>42228</c:v>
                </c:pt>
                <c:pt idx="1229">
                  <c:v>42229</c:v>
                </c:pt>
                <c:pt idx="1230">
                  <c:v>42230</c:v>
                </c:pt>
                <c:pt idx="1231">
                  <c:v>42233</c:v>
                </c:pt>
                <c:pt idx="1232">
                  <c:v>42234</c:v>
                </c:pt>
                <c:pt idx="1233">
                  <c:v>42235</c:v>
                </c:pt>
                <c:pt idx="1234">
                  <c:v>42236</c:v>
                </c:pt>
                <c:pt idx="1235">
                  <c:v>42237</c:v>
                </c:pt>
                <c:pt idx="1236">
                  <c:v>42240</c:v>
                </c:pt>
                <c:pt idx="1237">
                  <c:v>42241</c:v>
                </c:pt>
                <c:pt idx="1238">
                  <c:v>42242</c:v>
                </c:pt>
                <c:pt idx="1239">
                  <c:v>42243</c:v>
                </c:pt>
                <c:pt idx="1240">
                  <c:v>42244</c:v>
                </c:pt>
                <c:pt idx="1241">
                  <c:v>42247</c:v>
                </c:pt>
                <c:pt idx="1242">
                  <c:v>42248</c:v>
                </c:pt>
                <c:pt idx="1243">
                  <c:v>42249</c:v>
                </c:pt>
                <c:pt idx="1244">
                  <c:v>42250</c:v>
                </c:pt>
                <c:pt idx="1245">
                  <c:v>42251</c:v>
                </c:pt>
              </c:numCache>
            </c:numRef>
          </c:cat>
          <c:val>
            <c:numRef>
              <c:f>Sheet1!$C$2:$C$1247</c:f>
              <c:numCache>
                <c:formatCode>General</c:formatCode>
                <c:ptCount val="1246"/>
                <c:pt idx="0">
                  <c:v>100</c:v>
                </c:pt>
                <c:pt idx="1">
                  <c:v>99.821952241062803</c:v>
                </c:pt>
                <c:pt idx="2">
                  <c:v>100.51319648153296</c:v>
                </c:pt>
                <c:pt idx="3">
                  <c:v>99.696271470322159</c:v>
                </c:pt>
                <c:pt idx="4">
                  <c:v>101.22538751541961</c:v>
                </c:pt>
                <c:pt idx="5">
                  <c:v>100.95307917865969</c:v>
                </c:pt>
                <c:pt idx="6">
                  <c:v>100.85881860083698</c:v>
                </c:pt>
                <c:pt idx="7">
                  <c:v>101.72811059931325</c:v>
                </c:pt>
                <c:pt idx="8">
                  <c:v>100.4503560956971</c:v>
                </c:pt>
                <c:pt idx="9">
                  <c:v>99.842899036341421</c:v>
                </c:pt>
                <c:pt idx="10">
                  <c:v>99.748638458518712</c:v>
                </c:pt>
                <c:pt idx="11">
                  <c:v>100.63887725227363</c:v>
                </c:pt>
                <c:pt idx="12">
                  <c:v>98.470883954902561</c:v>
                </c:pt>
                <c:pt idx="13">
                  <c:v>99.109761206245096</c:v>
                </c:pt>
                <c:pt idx="14">
                  <c:v>100.84834520319765</c:v>
                </c:pt>
                <c:pt idx="15">
                  <c:v>100.64935064991292</c:v>
                </c:pt>
                <c:pt idx="16">
                  <c:v>99.643904483056673</c:v>
                </c:pt>
                <c:pt idx="17">
                  <c:v>97.444490992767697</c:v>
                </c:pt>
                <c:pt idx="18">
                  <c:v>98.303309593604666</c:v>
                </c:pt>
                <c:pt idx="19">
                  <c:v>98.701298701105216</c:v>
                </c:pt>
                <c:pt idx="20">
                  <c:v>97.95768747430067</c:v>
                </c:pt>
                <c:pt idx="21">
                  <c:v>95.695433599106906</c:v>
                </c:pt>
                <c:pt idx="22">
                  <c:v>95.150816925587094</c:v>
                </c:pt>
                <c:pt idx="23">
                  <c:v>97.643485546983527</c:v>
                </c:pt>
                <c:pt idx="24">
                  <c:v>99.633431085417385</c:v>
                </c:pt>
                <c:pt idx="25">
                  <c:v>99.780058651436647</c:v>
                </c:pt>
                <c:pt idx="26">
                  <c:v>99.539170506663581</c:v>
                </c:pt>
                <c:pt idx="27">
                  <c:v>100.57603686643775</c:v>
                </c:pt>
                <c:pt idx="28">
                  <c:v>100.92165898667282</c:v>
                </c:pt>
                <c:pt idx="29">
                  <c:v>101.3301214918127</c:v>
                </c:pt>
                <c:pt idx="30">
                  <c:v>101.36154168379954</c:v>
                </c:pt>
                <c:pt idx="31">
                  <c:v>101.927105152598</c:v>
                </c:pt>
                <c:pt idx="32">
                  <c:v>102.04231252663041</c:v>
                </c:pt>
                <c:pt idx="33">
                  <c:v>101.44532886491402</c:v>
                </c:pt>
                <c:pt idx="34">
                  <c:v>101.58148303329399</c:v>
                </c:pt>
                <c:pt idx="35">
                  <c:v>100.96355257629898</c:v>
                </c:pt>
                <c:pt idx="36">
                  <c:v>101.58148303329399</c:v>
                </c:pt>
                <c:pt idx="37">
                  <c:v>102.82781734399219</c:v>
                </c:pt>
                <c:pt idx="38">
                  <c:v>102.7440301638088</c:v>
                </c:pt>
                <c:pt idx="39">
                  <c:v>102.57645580251091</c:v>
                </c:pt>
                <c:pt idx="40">
                  <c:v>102.45077503177026</c:v>
                </c:pt>
                <c:pt idx="41">
                  <c:v>101.35106828709132</c:v>
                </c:pt>
                <c:pt idx="42">
                  <c:v>101.35106828709132</c:v>
                </c:pt>
                <c:pt idx="43">
                  <c:v>101.90615835825045</c:v>
                </c:pt>
                <c:pt idx="44">
                  <c:v>100.86929199847627</c:v>
                </c:pt>
                <c:pt idx="45">
                  <c:v>100.42940930041848</c:v>
                </c:pt>
                <c:pt idx="46">
                  <c:v>102.01089233371248</c:v>
                </c:pt>
                <c:pt idx="47">
                  <c:v>102.1156263091745</c:v>
                </c:pt>
                <c:pt idx="48">
                  <c:v>101.64432341819878</c:v>
                </c:pt>
                <c:pt idx="49">
                  <c:v>101.73858399695257</c:v>
                </c:pt>
                <c:pt idx="50">
                  <c:v>101.09970674467897</c:v>
                </c:pt>
                <c:pt idx="51">
                  <c:v>99.581064097220832</c:v>
                </c:pt>
                <c:pt idx="52">
                  <c:v>101.02639296213485</c:v>
                </c:pt>
                <c:pt idx="53">
                  <c:v>103.44574780098721</c:v>
                </c:pt>
                <c:pt idx="54">
                  <c:v>104.05320485941178</c:v>
                </c:pt>
                <c:pt idx="55">
                  <c:v>104.18935902779177</c:v>
                </c:pt>
                <c:pt idx="56">
                  <c:v>103.93799748631048</c:v>
                </c:pt>
                <c:pt idx="57">
                  <c:v>105.12149141210392</c:v>
                </c:pt>
                <c:pt idx="58">
                  <c:v>104.31503979946348</c:v>
                </c:pt>
                <c:pt idx="59">
                  <c:v>103.90657729339252</c:v>
                </c:pt>
                <c:pt idx="60">
                  <c:v>105.06912442390737</c:v>
                </c:pt>
                <c:pt idx="61">
                  <c:v>105.26811897812318</c:v>
                </c:pt>
                <c:pt idx="62">
                  <c:v>104.74444909988196</c:v>
                </c:pt>
                <c:pt idx="63">
                  <c:v>105.47758692904721</c:v>
                </c:pt>
                <c:pt idx="64">
                  <c:v>106.09551738604222</c:v>
                </c:pt>
                <c:pt idx="65">
                  <c:v>105.07959782154666</c:v>
                </c:pt>
                <c:pt idx="66">
                  <c:v>104.99581064136328</c:v>
                </c:pt>
                <c:pt idx="67">
                  <c:v>106.73439463738474</c:v>
                </c:pt>
                <c:pt idx="68">
                  <c:v>106.76581483030267</c:v>
                </c:pt>
                <c:pt idx="69">
                  <c:v>106.29451194025803</c:v>
                </c:pt>
                <c:pt idx="70">
                  <c:v>106.59824046900479</c:v>
                </c:pt>
                <c:pt idx="71">
                  <c:v>107.62463343113964</c:v>
                </c:pt>
                <c:pt idx="72">
                  <c:v>108.0121491410009</c:v>
                </c:pt>
                <c:pt idx="73">
                  <c:v>107.79220779243755</c:v>
                </c:pt>
                <c:pt idx="74">
                  <c:v>107.50942605803833</c:v>
                </c:pt>
                <c:pt idx="75">
                  <c:v>107.63510682877897</c:v>
                </c:pt>
                <c:pt idx="76">
                  <c:v>107.6770004193362</c:v>
                </c:pt>
                <c:pt idx="77">
                  <c:v>107.86552157498161</c:v>
                </c:pt>
                <c:pt idx="78">
                  <c:v>108.76623376637585</c:v>
                </c:pt>
                <c:pt idx="79">
                  <c:v>108.81860075457239</c:v>
                </c:pt>
                <c:pt idx="80">
                  <c:v>108.89191453711649</c:v>
                </c:pt>
                <c:pt idx="81">
                  <c:v>107.06954335998051</c:v>
                </c:pt>
                <c:pt idx="82">
                  <c:v>106.31545873460557</c:v>
                </c:pt>
                <c:pt idx="83">
                  <c:v>105.14243820738251</c:v>
                </c:pt>
                <c:pt idx="84">
                  <c:v>104.74444909988196</c:v>
                </c:pt>
                <c:pt idx="85">
                  <c:v>106.12693757896014</c:v>
                </c:pt>
                <c:pt idx="86">
                  <c:v>107.02764976942328</c:v>
                </c:pt>
                <c:pt idx="87">
                  <c:v>106.30498533696627</c:v>
                </c:pt>
                <c:pt idx="88">
                  <c:v>105.50900712196514</c:v>
                </c:pt>
                <c:pt idx="89">
                  <c:v>105.88604943418709</c:v>
                </c:pt>
                <c:pt idx="90">
                  <c:v>105.24717218284457</c:v>
                </c:pt>
                <c:pt idx="91">
                  <c:v>104.8596564729833</c:v>
                </c:pt>
                <c:pt idx="92">
                  <c:v>105.27859237576249</c:v>
                </c:pt>
                <c:pt idx="93">
                  <c:v>105.14243820738251</c:v>
                </c:pt>
                <c:pt idx="94">
                  <c:v>104.10557184760836</c:v>
                </c:pt>
                <c:pt idx="95">
                  <c:v>103.12107247603073</c:v>
                </c:pt>
                <c:pt idx="96">
                  <c:v>102.13657310445312</c:v>
                </c:pt>
                <c:pt idx="97">
                  <c:v>99.769585253797317</c:v>
                </c:pt>
                <c:pt idx="98">
                  <c:v>97.83200670356004</c:v>
                </c:pt>
                <c:pt idx="99">
                  <c:v>99.86384583162004</c:v>
                </c:pt>
                <c:pt idx="100">
                  <c:v>100.23041474713375</c:v>
                </c:pt>
                <c:pt idx="101">
                  <c:v>102.40888144121303</c:v>
                </c:pt>
                <c:pt idx="102">
                  <c:v>102.06325932190903</c:v>
                </c:pt>
                <c:pt idx="103">
                  <c:v>102.5659824048716</c:v>
                </c:pt>
                <c:pt idx="104">
                  <c:v>104.09509844996904</c:v>
                </c:pt>
                <c:pt idx="105">
                  <c:v>104.15793883580491</c:v>
                </c:pt>
                <c:pt idx="106">
                  <c:v>104.29409300418486</c:v>
                </c:pt>
                <c:pt idx="107">
                  <c:v>104.24172601598831</c:v>
                </c:pt>
                <c:pt idx="108">
                  <c:v>105.17385839936937</c:v>
                </c:pt>
                <c:pt idx="109">
                  <c:v>104.34645999145033</c:v>
                </c:pt>
                <c:pt idx="110">
                  <c:v>106.03267700020635</c:v>
                </c:pt>
                <c:pt idx="111">
                  <c:v>106.09551738604222</c:v>
                </c:pt>
                <c:pt idx="112">
                  <c:v>105.98031001294088</c:v>
                </c:pt>
                <c:pt idx="113">
                  <c:v>106.58776707136548</c:v>
                </c:pt>
                <c:pt idx="114">
                  <c:v>106.14788437423877</c:v>
                </c:pt>
                <c:pt idx="115">
                  <c:v>106.7134478430372</c:v>
                </c:pt>
                <c:pt idx="116">
                  <c:v>106.33640552988419</c:v>
                </c:pt>
                <c:pt idx="117">
                  <c:v>104.84918307534402</c:v>
                </c:pt>
                <c:pt idx="118">
                  <c:v>105.59279430307964</c:v>
                </c:pt>
                <c:pt idx="119">
                  <c:v>104.66066191876749</c:v>
                </c:pt>
                <c:pt idx="120">
                  <c:v>104.76539589422951</c:v>
                </c:pt>
                <c:pt idx="121">
                  <c:v>102.51361541667505</c:v>
                </c:pt>
                <c:pt idx="122">
                  <c:v>102.97444491001148</c:v>
                </c:pt>
                <c:pt idx="123">
                  <c:v>105.10054461682527</c:v>
                </c:pt>
                <c:pt idx="124">
                  <c:v>105.6556346879844</c:v>
                </c:pt>
                <c:pt idx="125">
                  <c:v>106.36782572280212</c:v>
                </c:pt>
                <c:pt idx="126">
                  <c:v>107.0590699623412</c:v>
                </c:pt>
                <c:pt idx="127">
                  <c:v>107.87599497262094</c:v>
                </c:pt>
                <c:pt idx="128">
                  <c:v>108.26351068341327</c:v>
                </c:pt>
                <c:pt idx="129">
                  <c:v>108.49392542961593</c:v>
                </c:pt>
                <c:pt idx="130">
                  <c:v>108.07498952683676</c:v>
                </c:pt>
                <c:pt idx="131">
                  <c:v>106.58776707136548</c:v>
                </c:pt>
                <c:pt idx="132">
                  <c:v>106.12693757896014</c:v>
                </c:pt>
                <c:pt idx="133">
                  <c:v>107.43611227456313</c:v>
                </c:pt>
                <c:pt idx="134">
                  <c:v>106.2630917473401</c:v>
                </c:pt>
                <c:pt idx="135">
                  <c:v>107.53037285331692</c:v>
                </c:pt>
                <c:pt idx="136">
                  <c:v>107.739840804241</c:v>
                </c:pt>
                <c:pt idx="137">
                  <c:v>106.93338919160055</c:v>
                </c:pt>
                <c:pt idx="138">
                  <c:v>106.54587348173932</c:v>
                </c:pt>
                <c:pt idx="139">
                  <c:v>106.2630917473401</c:v>
                </c:pt>
                <c:pt idx="140">
                  <c:v>104.99581064136328</c:v>
                </c:pt>
                <c:pt idx="141">
                  <c:v>105.51948051960447</c:v>
                </c:pt>
                <c:pt idx="142">
                  <c:v>106.36782572280212</c:v>
                </c:pt>
                <c:pt idx="143">
                  <c:v>105.44616673706038</c:v>
                </c:pt>
                <c:pt idx="144">
                  <c:v>103.60284876464578</c:v>
                </c:pt>
                <c:pt idx="145">
                  <c:v>103.93799748631048</c:v>
                </c:pt>
                <c:pt idx="146">
                  <c:v>104.43024717256482</c:v>
                </c:pt>
                <c:pt idx="147">
                  <c:v>103.9694176792284</c:v>
                </c:pt>
                <c:pt idx="148">
                  <c:v>104.69208211168541</c:v>
                </c:pt>
                <c:pt idx="149">
                  <c:v>104.5873481362234</c:v>
                </c:pt>
                <c:pt idx="150">
                  <c:v>106.23167155442216</c:v>
                </c:pt>
                <c:pt idx="151">
                  <c:v>105.18433179700868</c:v>
                </c:pt>
                <c:pt idx="152">
                  <c:v>103.69710934246849</c:v>
                </c:pt>
                <c:pt idx="153">
                  <c:v>103.90657729339252</c:v>
                </c:pt>
                <c:pt idx="154">
                  <c:v>103.26770004205</c:v>
                </c:pt>
                <c:pt idx="155">
                  <c:v>103.40385421042997</c:v>
                </c:pt>
                <c:pt idx="156">
                  <c:v>102.36698785065579</c:v>
                </c:pt>
                <c:pt idx="157">
                  <c:v>103.3619606198727</c:v>
                </c:pt>
                <c:pt idx="158">
                  <c:v>101.81189777949665</c:v>
                </c:pt>
                <c:pt idx="159">
                  <c:v>101.87473816533253</c:v>
                </c:pt>
                <c:pt idx="160">
                  <c:v>103.34101382459411</c:v>
                </c:pt>
                <c:pt idx="161">
                  <c:v>101.80142438185736</c:v>
                </c:pt>
                <c:pt idx="162">
                  <c:v>101.41390867199608</c:v>
                </c:pt>
                <c:pt idx="163">
                  <c:v>102.45077503177026</c:v>
                </c:pt>
                <c:pt idx="164">
                  <c:v>101.69669040639533</c:v>
                </c:pt>
                <c:pt idx="165">
                  <c:v>103.65521575191123</c:v>
                </c:pt>
                <c:pt idx="166">
                  <c:v>103.3619606198727</c:v>
                </c:pt>
                <c:pt idx="167">
                  <c:v>101.2463343106982</c:v>
                </c:pt>
                <c:pt idx="168">
                  <c:v>100.80645161264042</c:v>
                </c:pt>
                <c:pt idx="169">
                  <c:v>100.95307917865969</c:v>
                </c:pt>
                <c:pt idx="170">
                  <c:v>101.81189777949665</c:v>
                </c:pt>
                <c:pt idx="171">
                  <c:v>103.7913699202912</c:v>
                </c:pt>
                <c:pt idx="172">
                  <c:v>105.34143276066727</c:v>
                </c:pt>
                <c:pt idx="173">
                  <c:v>106.25261834970078</c:v>
                </c:pt>
                <c:pt idx="174">
                  <c:v>106.35735232516281</c:v>
                </c:pt>
                <c:pt idx="175">
                  <c:v>105.76036866344644</c:v>
                </c:pt>
                <c:pt idx="176">
                  <c:v>105.03770423098942</c:v>
                </c:pt>
                <c:pt idx="177">
                  <c:v>105.57184750780102</c:v>
                </c:pt>
                <c:pt idx="178">
                  <c:v>103.85421030612707</c:v>
                </c:pt>
                <c:pt idx="179">
                  <c:v>101.08923334703962</c:v>
                </c:pt>
                <c:pt idx="180">
                  <c:v>100.47130289097572</c:v>
                </c:pt>
                <c:pt idx="181">
                  <c:v>101.38248847907816</c:v>
                </c:pt>
                <c:pt idx="182">
                  <c:v>100.43988269805779</c:v>
                </c:pt>
                <c:pt idx="183">
                  <c:v>99.905739422177291</c:v>
                </c:pt>
                <c:pt idx="184">
                  <c:v>97.926267281382749</c:v>
                </c:pt>
                <c:pt idx="185">
                  <c:v>99.141181399163031</c:v>
                </c:pt>
                <c:pt idx="186">
                  <c:v>100.71219103481769</c:v>
                </c:pt>
                <c:pt idx="187">
                  <c:v>102.50314201903575</c:v>
                </c:pt>
                <c:pt idx="188">
                  <c:v>103.04775869348663</c:v>
                </c:pt>
                <c:pt idx="189">
                  <c:v>102.27272727283308</c:v>
                </c:pt>
                <c:pt idx="190">
                  <c:v>101.96899874315524</c:v>
                </c:pt>
                <c:pt idx="191">
                  <c:v>100.36656891551372</c:v>
                </c:pt>
                <c:pt idx="192">
                  <c:v>99.937159615095212</c:v>
                </c:pt>
                <c:pt idx="193">
                  <c:v>99.204021784998886</c:v>
                </c:pt>
                <c:pt idx="194">
                  <c:v>96.690406368323835</c:v>
                </c:pt>
                <c:pt idx="195">
                  <c:v>94.585253456788649</c:v>
                </c:pt>
                <c:pt idx="196">
                  <c:v>92.7105152912699</c:v>
                </c:pt>
                <c:pt idx="197">
                  <c:v>89.233347298016525</c:v>
                </c:pt>
                <c:pt idx="198">
                  <c:v>87.945119396854182</c:v>
                </c:pt>
                <c:pt idx="199">
                  <c:v>84.153749476469869</c:v>
                </c:pt>
                <c:pt idx="200">
                  <c:v>84.981147884481999</c:v>
                </c:pt>
                <c:pt idx="201">
                  <c:v>80.875576036966763</c:v>
                </c:pt>
                <c:pt idx="202">
                  <c:v>83.378718056281826</c:v>
                </c:pt>
                <c:pt idx="203">
                  <c:v>86.646418098145617</c:v>
                </c:pt>
                <c:pt idx="204">
                  <c:v>87.243401759675777</c:v>
                </c:pt>
                <c:pt idx="205">
                  <c:v>86.824465856803485</c:v>
                </c:pt>
                <c:pt idx="206">
                  <c:v>87.054880603378592</c:v>
                </c:pt>
                <c:pt idx="207">
                  <c:v>82.373271889518691</c:v>
                </c:pt>
                <c:pt idx="208">
                  <c:v>80.823209049142648</c:v>
                </c:pt>
                <c:pt idx="209">
                  <c:v>81.493506493589322</c:v>
                </c:pt>
                <c:pt idx="210">
                  <c:v>81.94386258910022</c:v>
                </c:pt>
                <c:pt idx="211">
                  <c:v>83.452031839198355</c:v>
                </c:pt>
                <c:pt idx="212">
                  <c:v>82.729367406927551</c:v>
                </c:pt>
                <c:pt idx="213">
                  <c:v>81.975282781831922</c:v>
                </c:pt>
                <c:pt idx="214">
                  <c:v>83.850020946885124</c:v>
                </c:pt>
                <c:pt idx="215">
                  <c:v>83.996648512904386</c:v>
                </c:pt>
                <c:pt idx="216">
                  <c:v>86.468370339487748</c:v>
                </c:pt>
                <c:pt idx="217">
                  <c:v>86.489317134580148</c:v>
                </c:pt>
                <c:pt idx="218">
                  <c:v>83.64055299549554</c:v>
                </c:pt>
                <c:pt idx="219">
                  <c:v>79.723502304277474</c:v>
                </c:pt>
                <c:pt idx="220">
                  <c:v>78.875157101079807</c:v>
                </c:pt>
                <c:pt idx="221">
                  <c:v>81.713447842618223</c:v>
                </c:pt>
                <c:pt idx="222">
                  <c:v>82.142857142943598</c:v>
                </c:pt>
                <c:pt idx="223">
                  <c:v>78.990364474367354</c:v>
                </c:pt>
                <c:pt idx="224">
                  <c:v>76.372015081764744</c:v>
                </c:pt>
                <c:pt idx="225">
                  <c:v>77.524088814547142</c:v>
                </c:pt>
                <c:pt idx="226">
                  <c:v>79.315039799044499</c:v>
                </c:pt>
                <c:pt idx="227">
                  <c:v>81.640134059608584</c:v>
                </c:pt>
                <c:pt idx="228">
                  <c:v>82.027649769656051</c:v>
                </c:pt>
                <c:pt idx="229">
                  <c:v>79.89107666538915</c:v>
                </c:pt>
                <c:pt idx="230">
                  <c:v>81.430666108219</c:v>
                </c:pt>
                <c:pt idx="231">
                  <c:v>80.058651026500812</c:v>
                </c:pt>
                <c:pt idx="232">
                  <c:v>76.078759949819315</c:v>
                </c:pt>
                <c:pt idx="233">
                  <c:v>76.717637201627383</c:v>
                </c:pt>
                <c:pt idx="234">
                  <c:v>78.424801005568924</c:v>
                </c:pt>
                <c:pt idx="235">
                  <c:v>82.383745287064897</c:v>
                </c:pt>
                <c:pt idx="236">
                  <c:v>81.692501047432714</c:v>
                </c:pt>
                <c:pt idx="237">
                  <c:v>82.718894009288249</c:v>
                </c:pt>
                <c:pt idx="238">
                  <c:v>81.34687892766317</c:v>
                </c:pt>
                <c:pt idx="239">
                  <c:v>79.786342689647796</c:v>
                </c:pt>
                <c:pt idx="240">
                  <c:v>77.649769585380895</c:v>
                </c:pt>
                <c:pt idx="241">
                  <c:v>80.708001675855087</c:v>
                </c:pt>
                <c:pt idx="242">
                  <c:v>83.263510682994294</c:v>
                </c:pt>
                <c:pt idx="243">
                  <c:v>83.818600754246518</c:v>
                </c:pt>
                <c:pt idx="244">
                  <c:v>85.693338919299705</c:v>
                </c:pt>
                <c:pt idx="245">
                  <c:v>85.494344365456328</c:v>
                </c:pt>
                <c:pt idx="246">
                  <c:v>87.557603686713605</c:v>
                </c:pt>
                <c:pt idx="247">
                  <c:v>86.321742773468486</c:v>
                </c:pt>
                <c:pt idx="248">
                  <c:v>87.243401759675777</c:v>
                </c:pt>
                <c:pt idx="249">
                  <c:v>85.819019690133473</c:v>
                </c:pt>
                <c:pt idx="250">
                  <c:v>85.661918726568004</c:v>
                </c:pt>
                <c:pt idx="251">
                  <c:v>86.185588605088526</c:v>
                </c:pt>
                <c:pt idx="252">
                  <c:v>84.237536657025686</c:v>
                </c:pt>
                <c:pt idx="253">
                  <c:v>86.656891495691809</c:v>
                </c:pt>
                <c:pt idx="254">
                  <c:v>87.892752409030052</c:v>
                </c:pt>
                <c:pt idx="255">
                  <c:v>87.117720988842024</c:v>
                </c:pt>
                <c:pt idx="256">
                  <c:v>86.887306242266916</c:v>
                </c:pt>
                <c:pt idx="257">
                  <c:v>91.516547968302703</c:v>
                </c:pt>
                <c:pt idx="258">
                  <c:v>91.034771680060089</c:v>
                </c:pt>
                <c:pt idx="259">
                  <c:v>88.238374528799596</c:v>
                </c:pt>
                <c:pt idx="260">
                  <c:v>83.965228320172685</c:v>
                </c:pt>
                <c:pt idx="261">
                  <c:v>85.075408462584051</c:v>
                </c:pt>
                <c:pt idx="262">
                  <c:v>87.327188940231608</c:v>
                </c:pt>
                <c:pt idx="263">
                  <c:v>85.578131546012173</c:v>
                </c:pt>
                <c:pt idx="264">
                  <c:v>85.263929618881235</c:v>
                </c:pt>
                <c:pt idx="265">
                  <c:v>86.018014243976864</c:v>
                </c:pt>
                <c:pt idx="266">
                  <c:v>84.038542103182294</c:v>
                </c:pt>
                <c:pt idx="267">
                  <c:v>84.049015500728501</c:v>
                </c:pt>
                <c:pt idx="268">
                  <c:v>86.499790532126354</c:v>
                </c:pt>
                <c:pt idx="269">
                  <c:v>85.232509426149505</c:v>
                </c:pt>
                <c:pt idx="270">
                  <c:v>84.049015500728501</c:v>
                </c:pt>
                <c:pt idx="271">
                  <c:v>84.279430247303608</c:v>
                </c:pt>
                <c:pt idx="272">
                  <c:v>83.148303309706733</c:v>
                </c:pt>
                <c:pt idx="273">
                  <c:v>82.760787599566171</c:v>
                </c:pt>
                <c:pt idx="274">
                  <c:v>79.943443653213265</c:v>
                </c:pt>
                <c:pt idx="275">
                  <c:v>79.116045245201121</c:v>
                </c:pt>
                <c:pt idx="276">
                  <c:v>77.827817344038749</c:v>
                </c:pt>
                <c:pt idx="277">
                  <c:v>77.754503561029125</c:v>
                </c:pt>
                <c:pt idx="278">
                  <c:v>78.4038542103834</c:v>
                </c:pt>
                <c:pt idx="279">
                  <c:v>82.184750733221506</c:v>
                </c:pt>
                <c:pt idx="280">
                  <c:v>82.66652702146412</c:v>
                </c:pt>
                <c:pt idx="281">
                  <c:v>86.185588605088526</c:v>
                </c:pt>
                <c:pt idx="282">
                  <c:v>85.494344365456328</c:v>
                </c:pt>
                <c:pt idx="283">
                  <c:v>86.436950146756033</c:v>
                </c:pt>
                <c:pt idx="284">
                  <c:v>87.484289903797091</c:v>
                </c:pt>
                <c:pt idx="285">
                  <c:v>86.939673230091046</c:v>
                </c:pt>
                <c:pt idx="286">
                  <c:v>86.499790532126354</c:v>
                </c:pt>
                <c:pt idx="287">
                  <c:v>84.467951403507698</c:v>
                </c:pt>
                <c:pt idx="288">
                  <c:v>86.143695014810604</c:v>
                </c:pt>
                <c:pt idx="289">
                  <c:v>83.671973188227255</c:v>
                </c:pt>
                <c:pt idx="290">
                  <c:v>83.472978634383878</c:v>
                </c:pt>
                <c:pt idx="291">
                  <c:v>81.472559698496923</c:v>
                </c:pt>
                <c:pt idx="292">
                  <c:v>82.184750733221506</c:v>
                </c:pt>
                <c:pt idx="293">
                  <c:v>81.744868035349938</c:v>
                </c:pt>
                <c:pt idx="294">
                  <c:v>81.755341432896145</c:v>
                </c:pt>
                <c:pt idx="295">
                  <c:v>84.059488898274722</c:v>
                </c:pt>
                <c:pt idx="296">
                  <c:v>83.389191453828033</c:v>
                </c:pt>
                <c:pt idx="297">
                  <c:v>84.384164222951853</c:v>
                </c:pt>
                <c:pt idx="298">
                  <c:v>85.033514872306128</c:v>
                </c:pt>
                <c:pt idx="299">
                  <c:v>85.04398826994543</c:v>
                </c:pt>
                <c:pt idx="300">
                  <c:v>83.996648512904386</c:v>
                </c:pt>
                <c:pt idx="301">
                  <c:v>85.117302052861959</c:v>
                </c:pt>
                <c:pt idx="302">
                  <c:v>85.934227063421019</c:v>
                </c:pt>
                <c:pt idx="303">
                  <c:v>87.798491830834919</c:v>
                </c:pt>
                <c:pt idx="304">
                  <c:v>88.604943443754649</c:v>
                </c:pt>
                <c:pt idx="305">
                  <c:v>87.358609132963323</c:v>
                </c:pt>
                <c:pt idx="306">
                  <c:v>86.17511520744921</c:v>
                </c:pt>
                <c:pt idx="307">
                  <c:v>85.82949308767968</c:v>
                </c:pt>
                <c:pt idx="308">
                  <c:v>85.431503979992911</c:v>
                </c:pt>
                <c:pt idx="309">
                  <c:v>87.47381650615776</c:v>
                </c:pt>
                <c:pt idx="310">
                  <c:v>87.316715542685415</c:v>
                </c:pt>
                <c:pt idx="311">
                  <c:v>87.641390867362546</c:v>
                </c:pt>
                <c:pt idx="312">
                  <c:v>87.316715542685415</c:v>
                </c:pt>
                <c:pt idx="313">
                  <c:v>88.175534143429275</c:v>
                </c:pt>
                <c:pt idx="314">
                  <c:v>89.390448261581994</c:v>
                </c:pt>
                <c:pt idx="315">
                  <c:v>89.338081273664756</c:v>
                </c:pt>
                <c:pt idx="316">
                  <c:v>90.919564306772543</c:v>
                </c:pt>
                <c:pt idx="317">
                  <c:v>90.731043150568468</c:v>
                </c:pt>
                <c:pt idx="318">
                  <c:v>91.369920402283427</c:v>
                </c:pt>
                <c:pt idx="319">
                  <c:v>90.846250523762905</c:v>
                </c:pt>
                <c:pt idx="320">
                  <c:v>90.74151654811466</c:v>
                </c:pt>
                <c:pt idx="321">
                  <c:v>92.281105990944539</c:v>
                </c:pt>
                <c:pt idx="322">
                  <c:v>91.422287390200665</c:v>
                </c:pt>
                <c:pt idx="323">
                  <c:v>90.123586091492115</c:v>
                </c:pt>
                <c:pt idx="324">
                  <c:v>90.751989945660867</c:v>
                </c:pt>
                <c:pt idx="325">
                  <c:v>92.836196062103653</c:v>
                </c:pt>
                <c:pt idx="326">
                  <c:v>93.171344784792538</c:v>
                </c:pt>
                <c:pt idx="327">
                  <c:v>94.532886468592096</c:v>
                </c:pt>
                <c:pt idx="328">
                  <c:v>94.239631336553558</c:v>
                </c:pt>
                <c:pt idx="329">
                  <c:v>94.291998324750111</c:v>
                </c:pt>
                <c:pt idx="330">
                  <c:v>94.354838709654899</c:v>
                </c:pt>
                <c:pt idx="331">
                  <c:v>94.669040636972028</c:v>
                </c:pt>
                <c:pt idx="332">
                  <c:v>93.297025555533182</c:v>
                </c:pt>
                <c:pt idx="333">
                  <c:v>93.726434855951666</c:v>
                </c:pt>
                <c:pt idx="334">
                  <c:v>93.527440301735851</c:v>
                </c:pt>
                <c:pt idx="335">
                  <c:v>93.935902806875717</c:v>
                </c:pt>
                <c:pt idx="336">
                  <c:v>93.736908253590983</c:v>
                </c:pt>
                <c:pt idx="337">
                  <c:v>94.962295769010581</c:v>
                </c:pt>
                <c:pt idx="338">
                  <c:v>96.198156682069481</c:v>
                </c:pt>
                <c:pt idx="339">
                  <c:v>95.726853791093745</c:v>
                </c:pt>
                <c:pt idx="340">
                  <c:v>94.92040217845333</c:v>
                </c:pt>
                <c:pt idx="341">
                  <c:v>94.45957268511691</c:v>
                </c:pt>
                <c:pt idx="342">
                  <c:v>95.05655634683329</c:v>
                </c:pt>
                <c:pt idx="343">
                  <c:v>94.59572685349687</c:v>
                </c:pt>
                <c:pt idx="344">
                  <c:v>94.878508587896093</c:v>
                </c:pt>
                <c:pt idx="345">
                  <c:v>94.710934227529293</c:v>
                </c:pt>
                <c:pt idx="346">
                  <c:v>95.925848345309561</c:v>
                </c:pt>
                <c:pt idx="347">
                  <c:v>95.978215333506128</c:v>
                </c:pt>
                <c:pt idx="348">
                  <c:v>95.318391285953879</c:v>
                </c:pt>
                <c:pt idx="349">
                  <c:v>92.144951822471455</c:v>
                </c:pt>
                <c:pt idx="350">
                  <c:v>92.888563050020878</c:v>
                </c:pt>
                <c:pt idx="351">
                  <c:v>94.972769166649897</c:v>
                </c:pt>
                <c:pt idx="352">
                  <c:v>95.182237117573933</c:v>
                </c:pt>
                <c:pt idx="353">
                  <c:v>95.140343527947763</c:v>
                </c:pt>
                <c:pt idx="354">
                  <c:v>96.732299957949991</c:v>
                </c:pt>
                <c:pt idx="355">
                  <c:v>97.255969837122265</c:v>
                </c:pt>
                <c:pt idx="356">
                  <c:v>97.8948470884648</c:v>
                </c:pt>
                <c:pt idx="357">
                  <c:v>98.334729786522601</c:v>
                </c:pt>
                <c:pt idx="358">
                  <c:v>98.387096774719154</c:v>
                </c:pt>
                <c:pt idx="359">
                  <c:v>97.245496439482963</c:v>
                </c:pt>
                <c:pt idx="360">
                  <c:v>96.973188102723057</c:v>
                </c:pt>
                <c:pt idx="361">
                  <c:v>95.643066610910353</c:v>
                </c:pt>
                <c:pt idx="362">
                  <c:v>95.716380394385524</c:v>
                </c:pt>
                <c:pt idx="363">
                  <c:v>96.512358609386624</c:v>
                </c:pt>
                <c:pt idx="364">
                  <c:v>96.009635525492982</c:v>
                </c:pt>
                <c:pt idx="365">
                  <c:v>94.983242564289199</c:v>
                </c:pt>
                <c:pt idx="366">
                  <c:v>93.433179723913142</c:v>
                </c:pt>
                <c:pt idx="367">
                  <c:v>94.490992878034845</c:v>
                </c:pt>
                <c:pt idx="368">
                  <c:v>95.444072056694523</c:v>
                </c:pt>
                <c:pt idx="369">
                  <c:v>94.093003770534295</c:v>
                </c:pt>
                <c:pt idx="370">
                  <c:v>91.537494763395102</c:v>
                </c:pt>
                <c:pt idx="371">
                  <c:v>91.558441558580611</c:v>
                </c:pt>
                <c:pt idx="372">
                  <c:v>88.929618768431794</c:v>
                </c:pt>
                <c:pt idx="373">
                  <c:v>89.746543778897745</c:v>
                </c:pt>
                <c:pt idx="374">
                  <c:v>90.552995391817475</c:v>
                </c:pt>
                <c:pt idx="375">
                  <c:v>88.521156263198819</c:v>
                </c:pt>
                <c:pt idx="376">
                  <c:v>88.845831587875949</c:v>
                </c:pt>
                <c:pt idx="377">
                  <c:v>91.160452450893843</c:v>
                </c:pt>
                <c:pt idx="378">
                  <c:v>89.736070381351524</c:v>
                </c:pt>
                <c:pt idx="379">
                  <c:v>88.479262672920896</c:v>
                </c:pt>
                <c:pt idx="380">
                  <c:v>89.212400502831017</c:v>
                </c:pt>
                <c:pt idx="381">
                  <c:v>86.614997905413901</c:v>
                </c:pt>
                <c:pt idx="382">
                  <c:v>88.091746962873444</c:v>
                </c:pt>
                <c:pt idx="383">
                  <c:v>89.819857561907369</c:v>
                </c:pt>
                <c:pt idx="384">
                  <c:v>89.840804357092878</c:v>
                </c:pt>
                <c:pt idx="385">
                  <c:v>90.909090909226336</c:v>
                </c:pt>
                <c:pt idx="386">
                  <c:v>89.93506493519493</c:v>
                </c:pt>
                <c:pt idx="387">
                  <c:v>89.956011730287329</c:v>
                </c:pt>
                <c:pt idx="388">
                  <c:v>89.495182237230239</c:v>
                </c:pt>
                <c:pt idx="389">
                  <c:v>89.379974863942678</c:v>
                </c:pt>
                <c:pt idx="390">
                  <c:v>88.028906577410012</c:v>
                </c:pt>
                <c:pt idx="391">
                  <c:v>89.180980310099301</c:v>
                </c:pt>
                <c:pt idx="392">
                  <c:v>87.50523669888949</c:v>
                </c:pt>
                <c:pt idx="393">
                  <c:v>87.232928362036461</c:v>
                </c:pt>
                <c:pt idx="394">
                  <c:v>88.217427733707197</c:v>
                </c:pt>
                <c:pt idx="395">
                  <c:v>88.58399664866225</c:v>
                </c:pt>
                <c:pt idx="396">
                  <c:v>86.53121072485807</c:v>
                </c:pt>
                <c:pt idx="397">
                  <c:v>85.693338919299705</c:v>
                </c:pt>
                <c:pt idx="398">
                  <c:v>85.483870967817012</c:v>
                </c:pt>
                <c:pt idx="399">
                  <c:v>84.467951403507698</c:v>
                </c:pt>
                <c:pt idx="400">
                  <c:v>84.227063259479479</c:v>
                </c:pt>
                <c:pt idx="401">
                  <c:v>84.844993716102053</c:v>
                </c:pt>
                <c:pt idx="402">
                  <c:v>86.552157520043579</c:v>
                </c:pt>
                <c:pt idx="403">
                  <c:v>84.258483452118099</c:v>
                </c:pt>
                <c:pt idx="404">
                  <c:v>85.023041474759921</c:v>
                </c:pt>
                <c:pt idx="405">
                  <c:v>85.274403016427428</c:v>
                </c:pt>
                <c:pt idx="406">
                  <c:v>84.991621282028206</c:v>
                </c:pt>
                <c:pt idx="407">
                  <c:v>85.693338919299705</c:v>
                </c:pt>
                <c:pt idx="408">
                  <c:v>84.090909091006424</c:v>
                </c:pt>
                <c:pt idx="409">
                  <c:v>83.975701717718891</c:v>
                </c:pt>
                <c:pt idx="410">
                  <c:v>82.027649769656051</c:v>
                </c:pt>
                <c:pt idx="411">
                  <c:v>82.017176372109844</c:v>
                </c:pt>
                <c:pt idx="412">
                  <c:v>82.436112274982136</c:v>
                </c:pt>
                <c:pt idx="413">
                  <c:v>84.415584415683568</c:v>
                </c:pt>
                <c:pt idx="414">
                  <c:v>84.949727691750297</c:v>
                </c:pt>
                <c:pt idx="415">
                  <c:v>84.865940511194466</c:v>
                </c:pt>
                <c:pt idx="416">
                  <c:v>84.58315877679523</c:v>
                </c:pt>
                <c:pt idx="417">
                  <c:v>84.61457896952696</c:v>
                </c:pt>
                <c:pt idx="418">
                  <c:v>84.394637620591169</c:v>
                </c:pt>
                <c:pt idx="419">
                  <c:v>84.530791788971115</c:v>
                </c:pt>
                <c:pt idx="420">
                  <c:v>85.819019690133473</c:v>
                </c:pt>
                <c:pt idx="421">
                  <c:v>85.379136992168782</c:v>
                </c:pt>
                <c:pt idx="422">
                  <c:v>86.99204021800827</c:v>
                </c:pt>
                <c:pt idx="423">
                  <c:v>87.515710096435683</c:v>
                </c:pt>
                <c:pt idx="424">
                  <c:v>87.159614579119932</c:v>
                </c:pt>
                <c:pt idx="425">
                  <c:v>86.562630917589786</c:v>
                </c:pt>
                <c:pt idx="426">
                  <c:v>84.562211981702831</c:v>
                </c:pt>
                <c:pt idx="427">
                  <c:v>84.248010054571893</c:v>
                </c:pt>
                <c:pt idx="428">
                  <c:v>85.682865521660418</c:v>
                </c:pt>
                <c:pt idx="429">
                  <c:v>85.358190196983259</c:v>
                </c:pt>
                <c:pt idx="430">
                  <c:v>89.296187683386847</c:v>
                </c:pt>
                <c:pt idx="431">
                  <c:v>90.343527440427891</c:v>
                </c:pt>
                <c:pt idx="432">
                  <c:v>91.380393799829633</c:v>
                </c:pt>
                <c:pt idx="433">
                  <c:v>91.265186426635196</c:v>
                </c:pt>
                <c:pt idx="434">
                  <c:v>90.270213657418267</c:v>
                </c:pt>
                <c:pt idx="435">
                  <c:v>88.521156263198819</c:v>
                </c:pt>
                <c:pt idx="436">
                  <c:v>88.22790113125339</c:v>
                </c:pt>
                <c:pt idx="437">
                  <c:v>88.929618768431794</c:v>
                </c:pt>
                <c:pt idx="438">
                  <c:v>88.835358190329742</c:v>
                </c:pt>
                <c:pt idx="439">
                  <c:v>88.039379974956205</c:v>
                </c:pt>
                <c:pt idx="440">
                  <c:v>89.338081273664756</c:v>
                </c:pt>
                <c:pt idx="441">
                  <c:v>89.264767490655146</c:v>
                </c:pt>
                <c:pt idx="442">
                  <c:v>89.222873900377223</c:v>
                </c:pt>
                <c:pt idx="443">
                  <c:v>90.385421030705814</c:v>
                </c:pt>
                <c:pt idx="444">
                  <c:v>91.296606619273803</c:v>
                </c:pt>
                <c:pt idx="445">
                  <c:v>89.118139924728979</c:v>
                </c:pt>
                <c:pt idx="446">
                  <c:v>86.656891495691809</c:v>
                </c:pt>
                <c:pt idx="447">
                  <c:v>85.77712609985555</c:v>
                </c:pt>
                <c:pt idx="448">
                  <c:v>86.091328026893379</c:v>
                </c:pt>
                <c:pt idx="449">
                  <c:v>89.327607876118563</c:v>
                </c:pt>
                <c:pt idx="450">
                  <c:v>91.076665270338012</c:v>
                </c:pt>
                <c:pt idx="451">
                  <c:v>92.448680352056201</c:v>
                </c:pt>
                <c:pt idx="452">
                  <c:v>91.809803100248118</c:v>
                </c:pt>
                <c:pt idx="453">
                  <c:v>92.040217846823225</c:v>
                </c:pt>
                <c:pt idx="454">
                  <c:v>89.599916212971593</c:v>
                </c:pt>
                <c:pt idx="455">
                  <c:v>93.276078760254563</c:v>
                </c:pt>
                <c:pt idx="456">
                  <c:v>94.333891914376267</c:v>
                </c:pt>
                <c:pt idx="457">
                  <c:v>95.475492249612458</c:v>
                </c:pt>
                <c:pt idx="458">
                  <c:v>95.182237117573933</c:v>
                </c:pt>
                <c:pt idx="459">
                  <c:v>95.433598659986302</c:v>
                </c:pt>
                <c:pt idx="460">
                  <c:v>94.983242564289199</c:v>
                </c:pt>
                <c:pt idx="461">
                  <c:v>94.65856723933274</c:v>
                </c:pt>
                <c:pt idx="462">
                  <c:v>95.255550901049105</c:v>
                </c:pt>
                <c:pt idx="463">
                  <c:v>95.161290322295301</c:v>
                </c:pt>
                <c:pt idx="464">
                  <c:v>96.240050272626718</c:v>
                </c:pt>
                <c:pt idx="465">
                  <c:v>96.941767909805137</c:v>
                </c:pt>
                <c:pt idx="466">
                  <c:v>96.543778802304558</c:v>
                </c:pt>
                <c:pt idx="467">
                  <c:v>97.475911185685632</c:v>
                </c:pt>
                <c:pt idx="468">
                  <c:v>96.208630079708797</c:v>
                </c:pt>
                <c:pt idx="469">
                  <c:v>95.381231671789749</c:v>
                </c:pt>
                <c:pt idx="470">
                  <c:v>95.444072056694523</c:v>
                </c:pt>
                <c:pt idx="471">
                  <c:v>96.334310850449441</c:v>
                </c:pt>
                <c:pt idx="472">
                  <c:v>95.62211981563172</c:v>
                </c:pt>
                <c:pt idx="473">
                  <c:v>95.485965647251774</c:v>
                </c:pt>
                <c:pt idx="474">
                  <c:v>94.344365312015583</c:v>
                </c:pt>
                <c:pt idx="475">
                  <c:v>95.559279430726946</c:v>
                </c:pt>
                <c:pt idx="476">
                  <c:v>96.355257645728059</c:v>
                </c:pt>
                <c:pt idx="477">
                  <c:v>95.423125262347</c:v>
                </c:pt>
                <c:pt idx="478">
                  <c:v>95.548806033087644</c:v>
                </c:pt>
                <c:pt idx="479">
                  <c:v>98.481357352541863</c:v>
                </c:pt>
                <c:pt idx="480">
                  <c:v>99.141181399163031</c:v>
                </c:pt>
                <c:pt idx="481">
                  <c:v>98.847926267124492</c:v>
                </c:pt>
                <c:pt idx="482">
                  <c:v>99.685798072682843</c:v>
                </c:pt>
                <c:pt idx="483">
                  <c:v>100.15710096365858</c:v>
                </c:pt>
                <c:pt idx="484">
                  <c:v>99.403016338283621</c:v>
                </c:pt>
                <c:pt idx="485">
                  <c:v>101.3301214918127</c:v>
                </c:pt>
                <c:pt idx="486">
                  <c:v>100.86929199847627</c:v>
                </c:pt>
                <c:pt idx="487">
                  <c:v>99.811478843423487</c:v>
                </c:pt>
                <c:pt idx="488">
                  <c:v>100.29325513203852</c:v>
                </c:pt>
                <c:pt idx="489">
                  <c:v>99.86384583162004</c:v>
                </c:pt>
                <c:pt idx="490">
                  <c:v>100.73313783009634</c:v>
                </c:pt>
                <c:pt idx="491">
                  <c:v>100</c:v>
                </c:pt>
                <c:pt idx="492">
                  <c:v>100.48177628861504</c:v>
                </c:pt>
                <c:pt idx="493">
                  <c:v>97.999581063926826</c:v>
                </c:pt>
                <c:pt idx="494">
                  <c:v>98.324256388883299</c:v>
                </c:pt>
                <c:pt idx="495">
                  <c:v>96.763720150867911</c:v>
                </c:pt>
                <c:pt idx="496">
                  <c:v>98.470883954902561</c:v>
                </c:pt>
                <c:pt idx="497">
                  <c:v>98.334729786522601</c:v>
                </c:pt>
                <c:pt idx="498">
                  <c:v>98.303309593604666</c:v>
                </c:pt>
                <c:pt idx="499">
                  <c:v>98.188102220503339</c:v>
                </c:pt>
                <c:pt idx="500">
                  <c:v>99.738165060879396</c:v>
                </c:pt>
                <c:pt idx="501">
                  <c:v>98.449937159623929</c:v>
                </c:pt>
                <c:pt idx="502">
                  <c:v>97.674905739901448</c:v>
                </c:pt>
                <c:pt idx="503">
                  <c:v>97.140762463089857</c:v>
                </c:pt>
                <c:pt idx="504">
                  <c:v>98.177628822864023</c:v>
                </c:pt>
                <c:pt idx="505">
                  <c:v>97.496857980964251</c:v>
                </c:pt>
                <c:pt idx="506">
                  <c:v>98.09384164268063</c:v>
                </c:pt>
                <c:pt idx="507">
                  <c:v>100.03142019291793</c:v>
                </c:pt>
                <c:pt idx="508">
                  <c:v>100.85881860083698</c:v>
                </c:pt>
                <c:pt idx="509">
                  <c:v>100.9740259739383</c:v>
                </c:pt>
                <c:pt idx="510">
                  <c:v>99.916212819816593</c:v>
                </c:pt>
                <c:pt idx="511">
                  <c:v>99.497276917037411</c:v>
                </c:pt>
                <c:pt idx="512">
                  <c:v>97.559698365869025</c:v>
                </c:pt>
                <c:pt idx="513">
                  <c:v>98.020527859205444</c:v>
                </c:pt>
                <c:pt idx="514">
                  <c:v>97.873900293186182</c:v>
                </c:pt>
                <c:pt idx="515">
                  <c:v>98.219522413421274</c:v>
                </c:pt>
                <c:pt idx="516">
                  <c:v>97.622538751704894</c:v>
                </c:pt>
                <c:pt idx="517">
                  <c:v>98.806032677498337</c:v>
                </c:pt>
                <c:pt idx="518">
                  <c:v>98.418516966706022</c:v>
                </c:pt>
                <c:pt idx="519">
                  <c:v>99.507750314676741</c:v>
                </c:pt>
                <c:pt idx="520">
                  <c:v>100.03142019291793</c:v>
                </c:pt>
                <c:pt idx="521">
                  <c:v>99.067867616618926</c:v>
                </c:pt>
                <c:pt idx="522">
                  <c:v>99.748638458518712</c:v>
                </c:pt>
                <c:pt idx="523">
                  <c:v>97.8948470884648</c:v>
                </c:pt>
                <c:pt idx="524">
                  <c:v>97.612065354065592</c:v>
                </c:pt>
                <c:pt idx="525">
                  <c:v>97.580645161147658</c:v>
                </c:pt>
                <c:pt idx="526">
                  <c:v>97.381650607862909</c:v>
                </c:pt>
                <c:pt idx="527">
                  <c:v>97.915793883743433</c:v>
                </c:pt>
                <c:pt idx="528">
                  <c:v>97.203602848925712</c:v>
                </c:pt>
                <c:pt idx="529">
                  <c:v>96.543778802304558</c:v>
                </c:pt>
                <c:pt idx="530">
                  <c:v>95.307917888314577</c:v>
                </c:pt>
                <c:pt idx="531">
                  <c:v>97.695852534248985</c:v>
                </c:pt>
                <c:pt idx="532">
                  <c:v>98.22999581106059</c:v>
                </c:pt>
                <c:pt idx="533">
                  <c:v>98.554671135085954</c:v>
                </c:pt>
                <c:pt idx="534">
                  <c:v>99.319229158100214</c:v>
                </c:pt>
                <c:pt idx="535">
                  <c:v>100.12568077074064</c:v>
                </c:pt>
                <c:pt idx="536">
                  <c:v>99.633431085417385</c:v>
                </c:pt>
                <c:pt idx="537">
                  <c:v>99.853372433980738</c:v>
                </c:pt>
                <c:pt idx="538">
                  <c:v>99.968579807082065</c:v>
                </c:pt>
                <c:pt idx="539">
                  <c:v>101.34059488945202</c:v>
                </c:pt>
                <c:pt idx="540">
                  <c:v>101.17302052815411</c:v>
                </c:pt>
                <c:pt idx="541">
                  <c:v>101.4034352743568</c:v>
                </c:pt>
                <c:pt idx="542">
                  <c:v>101.60242982857261</c:v>
                </c:pt>
                <c:pt idx="543">
                  <c:v>101.77000418987051</c:v>
                </c:pt>
                <c:pt idx="544">
                  <c:v>102.28320067047238</c:v>
                </c:pt>
                <c:pt idx="545">
                  <c:v>102.23083368227583</c:v>
                </c:pt>
                <c:pt idx="546">
                  <c:v>102.05278592426971</c:v>
                </c:pt>
                <c:pt idx="547">
                  <c:v>102.99539170529009</c:v>
                </c:pt>
                <c:pt idx="548">
                  <c:v>103.22580645149277</c:v>
                </c:pt>
                <c:pt idx="549">
                  <c:v>103.13154587367006</c:v>
                </c:pt>
                <c:pt idx="550">
                  <c:v>103.26770004205</c:v>
                </c:pt>
                <c:pt idx="551">
                  <c:v>103.26770004205</c:v>
                </c:pt>
                <c:pt idx="552">
                  <c:v>103.87515710140569</c:v>
                </c:pt>
                <c:pt idx="553">
                  <c:v>104.44072057020412</c:v>
                </c:pt>
                <c:pt idx="554">
                  <c:v>104.53498114802684</c:v>
                </c:pt>
                <c:pt idx="555">
                  <c:v>104.19983242543107</c:v>
                </c:pt>
                <c:pt idx="556">
                  <c:v>104.08462505232974</c:v>
                </c:pt>
                <c:pt idx="557">
                  <c:v>104.39882697964688</c:v>
                </c:pt>
                <c:pt idx="558">
                  <c:v>103.3619606198727</c:v>
                </c:pt>
                <c:pt idx="559">
                  <c:v>103.66568914955056</c:v>
                </c:pt>
                <c:pt idx="560">
                  <c:v>106.35735232516281</c:v>
                </c:pt>
                <c:pt idx="561">
                  <c:v>106.22119815678286</c:v>
                </c:pt>
                <c:pt idx="562">
                  <c:v>106.5354000841</c:v>
                </c:pt>
                <c:pt idx="563">
                  <c:v>106.0745705907636</c:v>
                </c:pt>
                <c:pt idx="564">
                  <c:v>105.9069962294657</c:v>
                </c:pt>
                <c:pt idx="565">
                  <c:v>106.58776707136548</c:v>
                </c:pt>
                <c:pt idx="566">
                  <c:v>106.56682027701794</c:v>
                </c:pt>
                <c:pt idx="567">
                  <c:v>106.73439463738474</c:v>
                </c:pt>
                <c:pt idx="568">
                  <c:v>106.60871386664409</c:v>
                </c:pt>
                <c:pt idx="569">
                  <c:v>106.37829912044143</c:v>
                </c:pt>
                <c:pt idx="570">
                  <c:v>106.5354000841</c:v>
                </c:pt>
                <c:pt idx="571">
                  <c:v>107.38374528729766</c:v>
                </c:pt>
                <c:pt idx="572">
                  <c:v>107.17427733544254</c:v>
                </c:pt>
                <c:pt idx="573">
                  <c:v>107.72936740660168</c:v>
                </c:pt>
                <c:pt idx="574">
                  <c:v>107.40469208257628</c:v>
                </c:pt>
                <c:pt idx="575">
                  <c:v>107.23711772127842</c:v>
                </c:pt>
                <c:pt idx="576">
                  <c:v>107.82362798535547</c:v>
                </c:pt>
                <c:pt idx="577">
                  <c:v>108.59865940507795</c:v>
                </c:pt>
                <c:pt idx="578">
                  <c:v>108.61960620035657</c:v>
                </c:pt>
                <c:pt idx="579">
                  <c:v>108.70339338053998</c:v>
                </c:pt>
                <c:pt idx="580">
                  <c:v>107.9178885631782</c:v>
                </c:pt>
                <c:pt idx="581">
                  <c:v>106.99622957743644</c:v>
                </c:pt>
                <c:pt idx="582">
                  <c:v>107.65605362405759</c:v>
                </c:pt>
                <c:pt idx="583">
                  <c:v>104.70255550932472</c:v>
                </c:pt>
                <c:pt idx="584">
                  <c:v>105.45664013376859</c:v>
                </c:pt>
                <c:pt idx="585">
                  <c:v>104.49308755746959</c:v>
                </c:pt>
                <c:pt idx="586">
                  <c:v>103.9589442815891</c:v>
                </c:pt>
                <c:pt idx="587">
                  <c:v>105.14243820738251</c:v>
                </c:pt>
                <c:pt idx="588">
                  <c:v>104.84918307534402</c:v>
                </c:pt>
                <c:pt idx="589">
                  <c:v>105.67658148326305</c:v>
                </c:pt>
                <c:pt idx="590">
                  <c:v>106.2630917473401</c:v>
                </c:pt>
                <c:pt idx="591">
                  <c:v>105.6346878927058</c:v>
                </c:pt>
                <c:pt idx="592">
                  <c:v>105.25764558048385</c:v>
                </c:pt>
                <c:pt idx="593">
                  <c:v>105.24717218284457</c:v>
                </c:pt>
                <c:pt idx="594">
                  <c:v>106.8705488057647</c:v>
                </c:pt>
                <c:pt idx="595">
                  <c:v>106.34687892752351</c:v>
                </c:pt>
                <c:pt idx="596">
                  <c:v>104.15793883580491</c:v>
                </c:pt>
                <c:pt idx="597">
                  <c:v>105.76036866344644</c:v>
                </c:pt>
                <c:pt idx="598">
                  <c:v>106.47255969826415</c:v>
                </c:pt>
                <c:pt idx="599">
                  <c:v>103.86468370376637</c:v>
                </c:pt>
                <c:pt idx="600">
                  <c:v>105.28906577340177</c:v>
                </c:pt>
                <c:pt idx="601">
                  <c:v>106.14788437423877</c:v>
                </c:pt>
                <c:pt idx="602">
                  <c:v>105.59279430307964</c:v>
                </c:pt>
                <c:pt idx="603">
                  <c:v>105.60326769978785</c:v>
                </c:pt>
                <c:pt idx="604">
                  <c:v>107.84457478063409</c:v>
                </c:pt>
                <c:pt idx="605">
                  <c:v>107.80268119007685</c:v>
                </c:pt>
                <c:pt idx="606">
                  <c:v>108.16925010465945</c:v>
                </c:pt>
                <c:pt idx="607">
                  <c:v>109.4365312106363</c:v>
                </c:pt>
                <c:pt idx="608">
                  <c:v>109.20611646443365</c:v>
                </c:pt>
                <c:pt idx="609">
                  <c:v>109.11185588661094</c:v>
                </c:pt>
                <c:pt idx="610">
                  <c:v>108.89191453711649</c:v>
                </c:pt>
                <c:pt idx="611">
                  <c:v>110.14872224545402</c:v>
                </c:pt>
                <c:pt idx="612">
                  <c:v>109.59363217429487</c:v>
                </c:pt>
                <c:pt idx="613">
                  <c:v>109.13280268095846</c:v>
                </c:pt>
                <c:pt idx="614">
                  <c:v>107.97025555137473</c:v>
                </c:pt>
                <c:pt idx="615">
                  <c:v>109.10138248897161</c:v>
                </c:pt>
                <c:pt idx="616">
                  <c:v>108.14830330938085</c:v>
                </c:pt>
                <c:pt idx="617">
                  <c:v>107.98072894901405</c:v>
                </c:pt>
                <c:pt idx="618">
                  <c:v>106.89149560104332</c:v>
                </c:pt>
                <c:pt idx="619">
                  <c:v>106.78676162558129</c:v>
                </c:pt>
                <c:pt idx="620">
                  <c:v>105.69752827854167</c:v>
                </c:pt>
                <c:pt idx="621">
                  <c:v>106.14788437423877</c:v>
                </c:pt>
                <c:pt idx="622">
                  <c:v>108.00167574336159</c:v>
                </c:pt>
                <c:pt idx="623">
                  <c:v>106.72392123974544</c:v>
                </c:pt>
                <c:pt idx="624">
                  <c:v>105.91746962710502</c:v>
                </c:pt>
                <c:pt idx="625">
                  <c:v>104.32551319617171</c:v>
                </c:pt>
                <c:pt idx="626">
                  <c:v>104.45119396784344</c:v>
                </c:pt>
                <c:pt idx="627">
                  <c:v>104.67113531640679</c:v>
                </c:pt>
                <c:pt idx="628">
                  <c:v>107.16380393780322</c:v>
                </c:pt>
                <c:pt idx="629">
                  <c:v>107.90741516553888</c:v>
                </c:pt>
                <c:pt idx="630">
                  <c:v>106.54587348173932</c:v>
                </c:pt>
                <c:pt idx="631">
                  <c:v>105.9069962294657</c:v>
                </c:pt>
                <c:pt idx="632">
                  <c:v>105.27859237576249</c:v>
                </c:pt>
                <c:pt idx="633">
                  <c:v>103.29912023496794</c:v>
                </c:pt>
                <c:pt idx="634">
                  <c:v>103.1943862595059</c:v>
                </c:pt>
                <c:pt idx="635">
                  <c:v>103.97989107686772</c:v>
                </c:pt>
                <c:pt idx="636">
                  <c:v>104.4093003772862</c:v>
                </c:pt>
                <c:pt idx="637">
                  <c:v>107.45705906984178</c:v>
                </c:pt>
                <c:pt idx="638">
                  <c:v>108.6405529956352</c:v>
                </c:pt>
                <c:pt idx="639">
                  <c:v>109.05948889841439</c:v>
                </c:pt>
                <c:pt idx="640">
                  <c:v>108.3787180565146</c:v>
                </c:pt>
                <c:pt idx="641">
                  <c:v>109.75073313795347</c:v>
                </c:pt>
                <c:pt idx="642">
                  <c:v>109.54126518702942</c:v>
                </c:pt>
                <c:pt idx="643">
                  <c:v>109.54126518702942</c:v>
                </c:pt>
                <c:pt idx="644">
                  <c:v>109.87641390869412</c:v>
                </c:pt>
                <c:pt idx="645">
                  <c:v>111.56263091745011</c:v>
                </c:pt>
                <c:pt idx="646">
                  <c:v>111.4683703396274</c:v>
                </c:pt>
                <c:pt idx="647">
                  <c:v>112.14914118152718</c:v>
                </c:pt>
                <c:pt idx="648">
                  <c:v>112.92417260218075</c:v>
                </c:pt>
                <c:pt idx="649">
                  <c:v>112.86133221634489</c:v>
                </c:pt>
                <c:pt idx="650">
                  <c:v>113.39547549222542</c:v>
                </c:pt>
                <c:pt idx="651">
                  <c:v>113.16506074602273</c:v>
                </c:pt>
                <c:pt idx="652">
                  <c:v>113.88772517847976</c:v>
                </c:pt>
                <c:pt idx="653">
                  <c:v>114.61038961093676</c:v>
                </c:pt>
                <c:pt idx="654">
                  <c:v>114.61038961093676</c:v>
                </c:pt>
                <c:pt idx="655">
                  <c:v>115.0712191033421</c:v>
                </c:pt>
                <c:pt idx="656">
                  <c:v>115.67867616269778</c:v>
                </c:pt>
                <c:pt idx="657">
                  <c:v>115.76246334288118</c:v>
                </c:pt>
                <c:pt idx="658">
                  <c:v>116.26518642677486</c:v>
                </c:pt>
                <c:pt idx="659">
                  <c:v>113.90867197375837</c:v>
                </c:pt>
                <c:pt idx="660">
                  <c:v>113.52115626296604</c:v>
                </c:pt>
                <c:pt idx="661">
                  <c:v>114.55802262274022</c:v>
                </c:pt>
                <c:pt idx="662">
                  <c:v>116.1185588607556</c:v>
                </c:pt>
                <c:pt idx="663">
                  <c:v>114.2857142859803</c:v>
                </c:pt>
                <c:pt idx="664">
                  <c:v>114.76749057366426</c:v>
                </c:pt>
                <c:pt idx="665">
                  <c:v>113.69920402190326</c:v>
                </c:pt>
                <c:pt idx="666">
                  <c:v>112.89275240926283</c:v>
                </c:pt>
                <c:pt idx="667">
                  <c:v>113.15458734838342</c:v>
                </c:pt>
                <c:pt idx="668">
                  <c:v>111.5207373268929</c:v>
                </c:pt>
                <c:pt idx="669">
                  <c:v>110.34771679966984</c:v>
                </c:pt>
                <c:pt idx="670">
                  <c:v>111.90825303768521</c:v>
                </c:pt>
                <c:pt idx="671">
                  <c:v>111.87683284476728</c:v>
                </c:pt>
                <c:pt idx="672">
                  <c:v>110.45245077513187</c:v>
                </c:pt>
                <c:pt idx="673">
                  <c:v>109.84499371577618</c:v>
                </c:pt>
                <c:pt idx="674">
                  <c:v>109.67741935540938</c:v>
                </c:pt>
                <c:pt idx="675">
                  <c:v>110.07540846290993</c:v>
                </c:pt>
                <c:pt idx="676">
                  <c:v>111.18558860522818</c:v>
                </c:pt>
                <c:pt idx="677">
                  <c:v>111.32174277360814</c:v>
                </c:pt>
                <c:pt idx="678">
                  <c:v>110.79807289536694</c:v>
                </c:pt>
                <c:pt idx="679">
                  <c:v>107.25806451655701</c:v>
                </c:pt>
                <c:pt idx="680">
                  <c:v>105.73942186816782</c:v>
                </c:pt>
                <c:pt idx="681">
                  <c:v>104.02178466742495</c:v>
                </c:pt>
                <c:pt idx="682">
                  <c:v>105.29953917104112</c:v>
                </c:pt>
                <c:pt idx="683">
                  <c:v>107.36279849201907</c:v>
                </c:pt>
                <c:pt idx="684">
                  <c:v>108.1901968999381</c:v>
                </c:pt>
                <c:pt idx="685">
                  <c:v>107.54084625095626</c:v>
                </c:pt>
                <c:pt idx="686">
                  <c:v>108.51487222489456</c:v>
                </c:pt>
                <c:pt idx="687">
                  <c:v>107.93883535845681</c:v>
                </c:pt>
                <c:pt idx="688">
                  <c:v>106.86007540905646</c:v>
                </c:pt>
                <c:pt idx="689">
                  <c:v>109.68789275211759</c:v>
                </c:pt>
                <c:pt idx="690">
                  <c:v>107.97025555137473</c:v>
                </c:pt>
                <c:pt idx="691">
                  <c:v>109.89736070397274</c:v>
                </c:pt>
                <c:pt idx="692">
                  <c:v>110.64097193170836</c:v>
                </c:pt>
                <c:pt idx="693">
                  <c:v>110.62002513642975</c:v>
                </c:pt>
                <c:pt idx="694">
                  <c:v>111.42647674907018</c:v>
                </c:pt>
                <c:pt idx="695">
                  <c:v>111.1018014241137</c:v>
                </c:pt>
                <c:pt idx="696">
                  <c:v>111.6464180985646</c:v>
                </c:pt>
                <c:pt idx="697">
                  <c:v>110.91328026846827</c:v>
                </c:pt>
                <c:pt idx="698">
                  <c:v>111.49979053254535</c:v>
                </c:pt>
                <c:pt idx="699">
                  <c:v>112.90322580690216</c:v>
                </c:pt>
                <c:pt idx="700">
                  <c:v>112.81943862578765</c:v>
                </c:pt>
                <c:pt idx="701">
                  <c:v>112.99748638472484</c:v>
                </c:pt>
                <c:pt idx="702">
                  <c:v>112.90322580690216</c:v>
                </c:pt>
                <c:pt idx="703">
                  <c:v>114.06577293648587</c:v>
                </c:pt>
                <c:pt idx="704">
                  <c:v>113.74109761246049</c:v>
                </c:pt>
                <c:pt idx="705">
                  <c:v>113.62589023935917</c:v>
                </c:pt>
                <c:pt idx="706">
                  <c:v>113.64683703370669</c:v>
                </c:pt>
                <c:pt idx="707">
                  <c:v>114.25429409306236</c:v>
                </c:pt>
                <c:pt idx="708">
                  <c:v>114.4637620449175</c:v>
                </c:pt>
                <c:pt idx="709">
                  <c:v>116.21281943857831</c:v>
                </c:pt>
                <c:pt idx="710">
                  <c:v>116.33850020931895</c:v>
                </c:pt>
                <c:pt idx="711">
                  <c:v>116.38039379987619</c:v>
                </c:pt>
                <c:pt idx="712">
                  <c:v>115.71009635561573</c:v>
                </c:pt>
                <c:pt idx="713">
                  <c:v>115.71009635561573</c:v>
                </c:pt>
                <c:pt idx="714">
                  <c:v>116.76790950973744</c:v>
                </c:pt>
                <c:pt idx="715">
                  <c:v>117.30205278654901</c:v>
                </c:pt>
                <c:pt idx="716">
                  <c:v>117.41726015965037</c:v>
                </c:pt>
                <c:pt idx="717">
                  <c:v>118.01424382043564</c:v>
                </c:pt>
                <c:pt idx="718">
                  <c:v>118.48554671141139</c:v>
                </c:pt>
                <c:pt idx="719">
                  <c:v>117.74193548367573</c:v>
                </c:pt>
                <c:pt idx="720">
                  <c:v>118.35986594067074</c:v>
                </c:pt>
                <c:pt idx="721">
                  <c:v>117.32299958089656</c:v>
                </c:pt>
                <c:pt idx="722">
                  <c:v>115.93003770417909</c:v>
                </c:pt>
                <c:pt idx="723">
                  <c:v>115.55299539195714</c:v>
                </c:pt>
                <c:pt idx="724">
                  <c:v>117.12400502761182</c:v>
                </c:pt>
                <c:pt idx="725">
                  <c:v>117.58483452001715</c:v>
                </c:pt>
                <c:pt idx="726">
                  <c:v>117.27063259363109</c:v>
                </c:pt>
                <c:pt idx="727">
                  <c:v>114.4532886472782</c:v>
                </c:pt>
                <c:pt idx="728">
                  <c:v>114.02387934685972</c:v>
                </c:pt>
                <c:pt idx="729">
                  <c:v>114.75701717695603</c:v>
                </c:pt>
                <c:pt idx="730">
                  <c:v>113.37452869694677</c:v>
                </c:pt>
                <c:pt idx="731">
                  <c:v>115.35400083774132</c:v>
                </c:pt>
                <c:pt idx="732">
                  <c:v>114.93506493496216</c:v>
                </c:pt>
                <c:pt idx="733">
                  <c:v>115.02932551371595</c:v>
                </c:pt>
                <c:pt idx="734">
                  <c:v>115.80435693343843</c:v>
                </c:pt>
                <c:pt idx="735">
                  <c:v>116.64222873899679</c:v>
                </c:pt>
                <c:pt idx="736">
                  <c:v>116.65270213663609</c:v>
                </c:pt>
                <c:pt idx="737">
                  <c:v>118.67406786798789</c:v>
                </c:pt>
                <c:pt idx="738">
                  <c:v>119.14537075803253</c:v>
                </c:pt>
                <c:pt idx="739">
                  <c:v>119.09300377076706</c:v>
                </c:pt>
                <c:pt idx="740">
                  <c:v>119.29199832405182</c:v>
                </c:pt>
                <c:pt idx="741">
                  <c:v>120.42312526164869</c:v>
                </c:pt>
                <c:pt idx="742">
                  <c:v>120.20318391308533</c:v>
                </c:pt>
                <c:pt idx="743">
                  <c:v>120.8839547549851</c:v>
                </c:pt>
                <c:pt idx="744">
                  <c:v>121.74277335582208</c:v>
                </c:pt>
                <c:pt idx="745">
                  <c:v>121.58567239216349</c:v>
                </c:pt>
                <c:pt idx="746">
                  <c:v>120.85253456206718</c:v>
                </c:pt>
                <c:pt idx="747">
                  <c:v>121.44951822378354</c:v>
                </c:pt>
                <c:pt idx="748">
                  <c:v>121.5123586096194</c:v>
                </c:pt>
                <c:pt idx="749">
                  <c:v>121.34478424832152</c:v>
                </c:pt>
                <c:pt idx="750">
                  <c:v>121.12484289882708</c:v>
                </c:pt>
                <c:pt idx="751">
                  <c:v>120.19271051544602</c:v>
                </c:pt>
                <c:pt idx="752">
                  <c:v>121.75324675346137</c:v>
                </c:pt>
                <c:pt idx="753">
                  <c:v>121.16673648938432</c:v>
                </c:pt>
                <c:pt idx="754">
                  <c:v>120.58022622530726</c:v>
                </c:pt>
                <c:pt idx="755">
                  <c:v>121.39715123558699</c:v>
                </c:pt>
                <c:pt idx="756">
                  <c:v>121.156263091745</c:v>
                </c:pt>
                <c:pt idx="757">
                  <c:v>120.4650188522059</c:v>
                </c:pt>
                <c:pt idx="758">
                  <c:v>120.29744449090802</c:v>
                </c:pt>
                <c:pt idx="759">
                  <c:v>122.70632593212108</c:v>
                </c:pt>
                <c:pt idx="760">
                  <c:v>122.96816087124168</c:v>
                </c:pt>
                <c:pt idx="761">
                  <c:v>123.03100125707753</c:v>
                </c:pt>
                <c:pt idx="762">
                  <c:v>124.17260159231374</c:v>
                </c:pt>
                <c:pt idx="763">
                  <c:v>124.64390448235835</c:v>
                </c:pt>
                <c:pt idx="764">
                  <c:v>124.47633012199158</c:v>
                </c:pt>
                <c:pt idx="765">
                  <c:v>125.5655634690312</c:v>
                </c:pt>
                <c:pt idx="766">
                  <c:v>125.64935064921461</c:v>
                </c:pt>
                <c:pt idx="767">
                  <c:v>126.20444072037374</c:v>
                </c:pt>
                <c:pt idx="768">
                  <c:v>125.1152073733341</c:v>
                </c:pt>
                <c:pt idx="769">
                  <c:v>125.78550481759456</c:v>
                </c:pt>
                <c:pt idx="770">
                  <c:v>125.42940930065127</c:v>
                </c:pt>
                <c:pt idx="771">
                  <c:v>124.96857980731484</c:v>
                </c:pt>
                <c:pt idx="772">
                  <c:v>125.96355257653175</c:v>
                </c:pt>
                <c:pt idx="773">
                  <c:v>125.7959782152339</c:v>
                </c:pt>
                <c:pt idx="774">
                  <c:v>126.68621700898879</c:v>
                </c:pt>
                <c:pt idx="775">
                  <c:v>126.14160033546898</c:v>
                </c:pt>
                <c:pt idx="776">
                  <c:v>126.63385002079224</c:v>
                </c:pt>
                <c:pt idx="777">
                  <c:v>125.87976539634835</c:v>
                </c:pt>
                <c:pt idx="778">
                  <c:v>126.83284457500805</c:v>
                </c:pt>
                <c:pt idx="779">
                  <c:v>126.45580226278612</c:v>
                </c:pt>
                <c:pt idx="780">
                  <c:v>126.22538751565237</c:v>
                </c:pt>
                <c:pt idx="781">
                  <c:v>126.96899874338798</c:v>
                </c:pt>
                <c:pt idx="782">
                  <c:v>126.28822790148824</c:v>
                </c:pt>
                <c:pt idx="783">
                  <c:v>125.69124423977185</c:v>
                </c:pt>
                <c:pt idx="784">
                  <c:v>126.79095098445079</c:v>
                </c:pt>
                <c:pt idx="785">
                  <c:v>126.91663175519143</c:v>
                </c:pt>
                <c:pt idx="786">
                  <c:v>127.84876413950359</c:v>
                </c:pt>
                <c:pt idx="787">
                  <c:v>126.75953079153288</c:v>
                </c:pt>
                <c:pt idx="788">
                  <c:v>126.60242982880536</c:v>
                </c:pt>
                <c:pt idx="789">
                  <c:v>126.50816925005159</c:v>
                </c:pt>
                <c:pt idx="790">
                  <c:v>126.93757855047008</c:v>
                </c:pt>
                <c:pt idx="791">
                  <c:v>127.61834939236985</c:v>
                </c:pt>
                <c:pt idx="792">
                  <c:v>127.22036028486927</c:v>
                </c:pt>
                <c:pt idx="793">
                  <c:v>127.97444491024423</c:v>
                </c:pt>
                <c:pt idx="794">
                  <c:v>128.42480100594136</c:v>
                </c:pt>
                <c:pt idx="795">
                  <c:v>128.33054042718754</c:v>
                </c:pt>
                <c:pt idx="796">
                  <c:v>127.90113112676906</c:v>
                </c:pt>
                <c:pt idx="797">
                  <c:v>125.36656891481539</c:v>
                </c:pt>
                <c:pt idx="798">
                  <c:v>124.57059069981429</c:v>
                </c:pt>
                <c:pt idx="799">
                  <c:v>123.28236279855884</c:v>
                </c:pt>
                <c:pt idx="800">
                  <c:v>124.18307498995304</c:v>
                </c:pt>
                <c:pt idx="801">
                  <c:v>124.62295768801084</c:v>
                </c:pt>
                <c:pt idx="802">
                  <c:v>123.74319229189523</c:v>
                </c:pt>
                <c:pt idx="803">
                  <c:v>123.1776288230968</c:v>
                </c:pt>
                <c:pt idx="804">
                  <c:v>122.25596983642394</c:v>
                </c:pt>
                <c:pt idx="805">
                  <c:v>122.01508169258197</c:v>
                </c:pt>
                <c:pt idx="806">
                  <c:v>123.99455383337651</c:v>
                </c:pt>
                <c:pt idx="807">
                  <c:v>122.76916631795693</c:v>
                </c:pt>
                <c:pt idx="808">
                  <c:v>123.9736070380979</c:v>
                </c:pt>
                <c:pt idx="809">
                  <c:v>126.0787599496331</c:v>
                </c:pt>
                <c:pt idx="810">
                  <c:v>126.8014243820901</c:v>
                </c:pt>
                <c:pt idx="811">
                  <c:v>127.73355676640226</c:v>
                </c:pt>
                <c:pt idx="812">
                  <c:v>127.90113112676906</c:v>
                </c:pt>
                <c:pt idx="813">
                  <c:v>129.37788018460103</c:v>
                </c:pt>
                <c:pt idx="814">
                  <c:v>129.13699204075905</c:v>
                </c:pt>
                <c:pt idx="815">
                  <c:v>129.41977377515829</c:v>
                </c:pt>
                <c:pt idx="816">
                  <c:v>127.83829074186428</c:v>
                </c:pt>
                <c:pt idx="817">
                  <c:v>128.50858818612474</c:v>
                </c:pt>
                <c:pt idx="818">
                  <c:v>128.40385421066273</c:v>
                </c:pt>
                <c:pt idx="819">
                  <c:v>129.83870967793746</c:v>
                </c:pt>
                <c:pt idx="820">
                  <c:v>130.04817762886148</c:v>
                </c:pt>
                <c:pt idx="821">
                  <c:v>129.44072056950583</c:v>
                </c:pt>
                <c:pt idx="822">
                  <c:v>130.00628403830424</c:v>
                </c:pt>
                <c:pt idx="823">
                  <c:v>130.59279430238132</c:v>
                </c:pt>
                <c:pt idx="824">
                  <c:v>130.77084206131852</c:v>
                </c:pt>
                <c:pt idx="825">
                  <c:v>132.65605362429037</c:v>
                </c:pt>
                <c:pt idx="826">
                  <c:v>132.17427733567533</c:v>
                </c:pt>
                <c:pt idx="827">
                  <c:v>132.41516547951727</c:v>
                </c:pt>
                <c:pt idx="828">
                  <c:v>132.26853791349802</c:v>
                </c:pt>
                <c:pt idx="829">
                  <c:v>132.14285714275738</c:v>
                </c:pt>
                <c:pt idx="830">
                  <c:v>132.03812316729534</c:v>
                </c:pt>
                <c:pt idx="831">
                  <c:v>130.88604943441987</c:v>
                </c:pt>
                <c:pt idx="832">
                  <c:v>127.45077503200307</c:v>
                </c:pt>
                <c:pt idx="833">
                  <c:v>126.65479681607086</c:v>
                </c:pt>
                <c:pt idx="834">
                  <c:v>127.7545035607498</c:v>
                </c:pt>
                <c:pt idx="835">
                  <c:v>127.03183912922388</c:v>
                </c:pt>
                <c:pt idx="836">
                  <c:v>127.4193548390851</c:v>
                </c:pt>
                <c:pt idx="837">
                  <c:v>126.79095098445079</c:v>
                </c:pt>
                <c:pt idx="838">
                  <c:v>125.02094679551139</c:v>
                </c:pt>
                <c:pt idx="839">
                  <c:v>125.02094679551139</c:v>
                </c:pt>
                <c:pt idx="840">
                  <c:v>125.13615416861272</c:v>
                </c:pt>
                <c:pt idx="841">
                  <c:v>127.33556765797063</c:v>
                </c:pt>
                <c:pt idx="842">
                  <c:v>128.25722664464348</c:v>
                </c:pt>
                <c:pt idx="843">
                  <c:v>128.22580645172553</c:v>
                </c:pt>
                <c:pt idx="844">
                  <c:v>129.98533724395671</c:v>
                </c:pt>
                <c:pt idx="845">
                  <c:v>130.73942186840057</c:v>
                </c:pt>
                <c:pt idx="846">
                  <c:v>130.92794302497711</c:v>
                </c:pt>
                <c:pt idx="847">
                  <c:v>131.77628822817476</c:v>
                </c:pt>
                <c:pt idx="848">
                  <c:v>131.95433598711196</c:v>
                </c:pt>
                <c:pt idx="849">
                  <c:v>131.81818181873203</c:v>
                </c:pt>
                <c:pt idx="850">
                  <c:v>131.9124423965547</c:v>
                </c:pt>
                <c:pt idx="851">
                  <c:v>131.80770842109271</c:v>
                </c:pt>
                <c:pt idx="852">
                  <c:v>132.31043150405529</c:v>
                </c:pt>
                <c:pt idx="853">
                  <c:v>133.25303728507564</c:v>
                </c:pt>
                <c:pt idx="854">
                  <c:v>133.30540427327219</c:v>
                </c:pt>
                <c:pt idx="855">
                  <c:v>132.83410138229647</c:v>
                </c:pt>
                <c:pt idx="856">
                  <c:v>132.42563887715662</c:v>
                </c:pt>
                <c:pt idx="857">
                  <c:v>133.06451612943022</c:v>
                </c:pt>
                <c:pt idx="858">
                  <c:v>129.28361960677833</c:v>
                </c:pt>
                <c:pt idx="859">
                  <c:v>132.47800586535317</c:v>
                </c:pt>
                <c:pt idx="860">
                  <c:v>132.60368663609381</c:v>
                </c:pt>
                <c:pt idx="861">
                  <c:v>133.22161709308881</c:v>
                </c:pt>
                <c:pt idx="862">
                  <c:v>131.38877251831354</c:v>
                </c:pt>
                <c:pt idx="863">
                  <c:v>131.10599078391431</c:v>
                </c:pt>
                <c:pt idx="864">
                  <c:v>131.12693757919291</c:v>
                </c:pt>
                <c:pt idx="865">
                  <c:v>129.81776288265883</c:v>
                </c:pt>
                <c:pt idx="866">
                  <c:v>128.04775869278834</c:v>
                </c:pt>
                <c:pt idx="867">
                  <c:v>127.29367406834446</c:v>
                </c:pt>
                <c:pt idx="868">
                  <c:v>129.13699204075905</c:v>
                </c:pt>
                <c:pt idx="869">
                  <c:v>130.22622538779871</c:v>
                </c:pt>
                <c:pt idx="870">
                  <c:v>130.22622538779871</c:v>
                </c:pt>
                <c:pt idx="871">
                  <c:v>130.52995391747655</c:v>
                </c:pt>
                <c:pt idx="872">
                  <c:v>130.64516129057787</c:v>
                </c:pt>
                <c:pt idx="873">
                  <c:v>128.9065772936253</c:v>
                </c:pt>
                <c:pt idx="874">
                  <c:v>130.60326770002061</c:v>
                </c:pt>
                <c:pt idx="875">
                  <c:v>132.059069962574</c:v>
                </c:pt>
                <c:pt idx="876">
                  <c:v>132.15333054039669</c:v>
                </c:pt>
                <c:pt idx="877">
                  <c:v>133.59865940531074</c:v>
                </c:pt>
                <c:pt idx="878">
                  <c:v>133.59865940531074</c:v>
                </c:pt>
                <c:pt idx="879">
                  <c:v>134.76120653582555</c:v>
                </c:pt>
                <c:pt idx="880">
                  <c:v>134.76120653582555</c:v>
                </c:pt>
                <c:pt idx="881">
                  <c:v>135.33724340226328</c:v>
                </c:pt>
                <c:pt idx="882">
                  <c:v>136.24842899036577</c:v>
                </c:pt>
                <c:pt idx="883">
                  <c:v>134.5307917886918</c:v>
                </c:pt>
                <c:pt idx="884">
                  <c:v>133.77670716424791</c:v>
                </c:pt>
                <c:pt idx="885">
                  <c:v>134.24801005429256</c:v>
                </c:pt>
                <c:pt idx="886">
                  <c:v>133.25303728507564</c:v>
                </c:pt>
                <c:pt idx="887">
                  <c:v>131.57729367395891</c:v>
                </c:pt>
                <c:pt idx="888">
                  <c:v>131.78676162581405</c:v>
                </c:pt>
                <c:pt idx="889">
                  <c:v>130.15291160432355</c:v>
                </c:pt>
                <c:pt idx="890">
                  <c:v>132.31043150405529</c:v>
                </c:pt>
                <c:pt idx="891">
                  <c:v>133.0540427317909</c:v>
                </c:pt>
                <c:pt idx="892">
                  <c:v>134.98114788438889</c:v>
                </c:pt>
                <c:pt idx="893">
                  <c:v>134.15374947646987</c:v>
                </c:pt>
                <c:pt idx="894">
                  <c:v>134.58315877688835</c:v>
                </c:pt>
                <c:pt idx="895">
                  <c:v>133.01214914123366</c:v>
                </c:pt>
                <c:pt idx="896">
                  <c:v>133.3891914534556</c:v>
                </c:pt>
                <c:pt idx="897">
                  <c:v>135.11730205276885</c:v>
                </c:pt>
                <c:pt idx="898">
                  <c:v>134.94972769147097</c:v>
                </c:pt>
                <c:pt idx="899">
                  <c:v>134.94972769147097</c:v>
                </c:pt>
                <c:pt idx="900">
                  <c:v>134.60410557216696</c:v>
                </c:pt>
                <c:pt idx="901">
                  <c:v>134.44700460850839</c:v>
                </c:pt>
                <c:pt idx="902">
                  <c:v>133.72434017605138</c:v>
                </c:pt>
                <c:pt idx="903">
                  <c:v>133.99664851281128</c:v>
                </c:pt>
                <c:pt idx="904">
                  <c:v>135.79807289466862</c:v>
                </c:pt>
                <c:pt idx="905">
                  <c:v>135.05446166786408</c:v>
                </c:pt>
                <c:pt idx="906">
                  <c:v>136.290322580923</c:v>
                </c:pt>
                <c:pt idx="907">
                  <c:v>136.47884373749949</c:v>
                </c:pt>
                <c:pt idx="908">
                  <c:v>136.36363636346709</c:v>
                </c:pt>
                <c:pt idx="909">
                  <c:v>134.32132383776775</c:v>
                </c:pt>
                <c:pt idx="910">
                  <c:v>134.5307917886918</c:v>
                </c:pt>
                <c:pt idx="911">
                  <c:v>134.84499371600893</c:v>
                </c:pt>
                <c:pt idx="912">
                  <c:v>134.88688730656619</c:v>
                </c:pt>
                <c:pt idx="913">
                  <c:v>135.68286552156729</c:v>
                </c:pt>
                <c:pt idx="914">
                  <c:v>135.90280687106173</c:v>
                </c:pt>
                <c:pt idx="915">
                  <c:v>136.62547130351874</c:v>
                </c:pt>
                <c:pt idx="916">
                  <c:v>138.25932132407823</c:v>
                </c:pt>
                <c:pt idx="917">
                  <c:v>138.52115626319883</c:v>
                </c:pt>
                <c:pt idx="918">
                  <c:v>138.72015081741463</c:v>
                </c:pt>
                <c:pt idx="919">
                  <c:v>138.69920402213603</c:v>
                </c:pt>
                <c:pt idx="920">
                  <c:v>138.84583158815528</c:v>
                </c:pt>
                <c:pt idx="921">
                  <c:v>139.17050691218066</c:v>
                </c:pt>
                <c:pt idx="922">
                  <c:v>138.63636363630016</c:v>
                </c:pt>
                <c:pt idx="923">
                  <c:v>138.64683703393948</c:v>
                </c:pt>
                <c:pt idx="924">
                  <c:v>139.79891076681497</c:v>
                </c:pt>
                <c:pt idx="925">
                  <c:v>141.02429828223458</c:v>
                </c:pt>
                <c:pt idx="926">
                  <c:v>141.52702136612822</c:v>
                </c:pt>
                <c:pt idx="927">
                  <c:v>141.82027649816675</c:v>
                </c:pt>
                <c:pt idx="928">
                  <c:v>140.66820276529126</c:v>
                </c:pt>
                <c:pt idx="929">
                  <c:v>140.63678257237331</c:v>
                </c:pt>
                <c:pt idx="930">
                  <c:v>140.28068705543001</c:v>
                </c:pt>
                <c:pt idx="931">
                  <c:v>139.50565563477642</c:v>
                </c:pt>
                <c:pt idx="932">
                  <c:v>140.16547968139758</c:v>
                </c:pt>
                <c:pt idx="933">
                  <c:v>140.25974026015137</c:v>
                </c:pt>
                <c:pt idx="934">
                  <c:v>141.2547130293683</c:v>
                </c:pt>
                <c:pt idx="935">
                  <c:v>140.75198994547463</c:v>
                </c:pt>
                <c:pt idx="936">
                  <c:v>139.88269794699838</c:v>
                </c:pt>
                <c:pt idx="937">
                  <c:v>139.71512358663156</c:v>
                </c:pt>
                <c:pt idx="938">
                  <c:v>138.33263510662232</c:v>
                </c:pt>
                <c:pt idx="939">
                  <c:v>137.88227901185627</c:v>
                </c:pt>
                <c:pt idx="940">
                  <c:v>137.78801843310248</c:v>
                </c:pt>
                <c:pt idx="941">
                  <c:v>137.66233766236184</c:v>
                </c:pt>
                <c:pt idx="942">
                  <c:v>138.84583158815528</c:v>
                </c:pt>
                <c:pt idx="943">
                  <c:v>138.85630498579459</c:v>
                </c:pt>
                <c:pt idx="944">
                  <c:v>140.35400083797413</c:v>
                </c:pt>
                <c:pt idx="945">
                  <c:v>139.558022622973</c:v>
                </c:pt>
                <c:pt idx="946">
                  <c:v>137.95559279440036</c:v>
                </c:pt>
                <c:pt idx="947">
                  <c:v>135.78759949702933</c:v>
                </c:pt>
                <c:pt idx="948">
                  <c:v>136.24842899036577</c:v>
                </c:pt>
                <c:pt idx="949">
                  <c:v>134.21658986230574</c:v>
                </c:pt>
                <c:pt idx="950">
                  <c:v>134.467951403787</c:v>
                </c:pt>
                <c:pt idx="951">
                  <c:v>135.68286552156729</c:v>
                </c:pt>
                <c:pt idx="952">
                  <c:v>134.48889819906563</c:v>
                </c:pt>
                <c:pt idx="953">
                  <c:v>136.60452450824013</c:v>
                </c:pt>
                <c:pt idx="954">
                  <c:v>135.01256807730684</c:v>
                </c:pt>
                <c:pt idx="955">
                  <c:v>135.09635525749022</c:v>
                </c:pt>
                <c:pt idx="956">
                  <c:v>134.10138248827332</c:v>
                </c:pt>
                <c:pt idx="957">
                  <c:v>135.91328026870104</c:v>
                </c:pt>
                <c:pt idx="958">
                  <c:v>136.18558860546096</c:v>
                </c:pt>
                <c:pt idx="959">
                  <c:v>137.41097612088055</c:v>
                </c:pt>
                <c:pt idx="960">
                  <c:v>135.75617930504248</c:v>
                </c:pt>
                <c:pt idx="961">
                  <c:v>135.49434436592188</c:v>
                </c:pt>
                <c:pt idx="962">
                  <c:v>136.12274821962512</c:v>
                </c:pt>
                <c:pt idx="963">
                  <c:v>135.28487641406676</c:v>
                </c:pt>
                <c:pt idx="964">
                  <c:v>133.02262253887298</c:v>
                </c:pt>
                <c:pt idx="965">
                  <c:v>131.07457059099636</c:v>
                </c:pt>
                <c:pt idx="966">
                  <c:v>130.91746962733777</c:v>
                </c:pt>
                <c:pt idx="967">
                  <c:v>130.82320904951507</c:v>
                </c:pt>
                <c:pt idx="968">
                  <c:v>129.66066191900026</c:v>
                </c:pt>
                <c:pt idx="969">
                  <c:v>128.23627984936485</c:v>
                </c:pt>
                <c:pt idx="970">
                  <c:v>127.8592375371429</c:v>
                </c:pt>
                <c:pt idx="971">
                  <c:v>129.73397570154438</c:v>
                </c:pt>
                <c:pt idx="972">
                  <c:v>128.99036447473981</c:v>
                </c:pt>
                <c:pt idx="973">
                  <c:v>130.07959782177943</c:v>
                </c:pt>
                <c:pt idx="974">
                  <c:v>130.3204859656214</c:v>
                </c:pt>
                <c:pt idx="975">
                  <c:v>129.41977377515829</c:v>
                </c:pt>
                <c:pt idx="976">
                  <c:v>131.07457059099636</c:v>
                </c:pt>
                <c:pt idx="977">
                  <c:v>131.9124423965547</c:v>
                </c:pt>
                <c:pt idx="978">
                  <c:v>131.74486803525681</c:v>
                </c:pt>
                <c:pt idx="979">
                  <c:v>133.25303728507564</c:v>
                </c:pt>
                <c:pt idx="980">
                  <c:v>132.45705907007454</c:v>
                </c:pt>
                <c:pt idx="981">
                  <c:v>134.78215333110415</c:v>
                </c:pt>
                <c:pt idx="982">
                  <c:v>136.07038123142857</c:v>
                </c:pt>
                <c:pt idx="983">
                  <c:v>136.17511520782165</c:v>
                </c:pt>
                <c:pt idx="984">
                  <c:v>134.87641390892688</c:v>
                </c:pt>
                <c:pt idx="985">
                  <c:v>135.18014243860472</c:v>
                </c:pt>
                <c:pt idx="986">
                  <c:v>135.18014243860472</c:v>
                </c:pt>
                <c:pt idx="987">
                  <c:v>135.42103058244669</c:v>
                </c:pt>
                <c:pt idx="988">
                  <c:v>136.90825303791797</c:v>
                </c:pt>
                <c:pt idx="989">
                  <c:v>139.00293255181387</c:v>
                </c:pt>
                <c:pt idx="990">
                  <c:v>139.0343527438007</c:v>
                </c:pt>
                <c:pt idx="991">
                  <c:v>138.77251780468009</c:v>
                </c:pt>
                <c:pt idx="992">
                  <c:v>137.92417260148244</c:v>
                </c:pt>
                <c:pt idx="993">
                  <c:v>137.74612484347634</c:v>
                </c:pt>
                <c:pt idx="994">
                  <c:v>137.48428990342464</c:v>
                </c:pt>
                <c:pt idx="995">
                  <c:v>137.34813573504471</c:v>
                </c:pt>
                <c:pt idx="996">
                  <c:v>137.07582739828479</c:v>
                </c:pt>
                <c:pt idx="997">
                  <c:v>136.49979053184703</c:v>
                </c:pt>
                <c:pt idx="998">
                  <c:v>137.24340175958264</c:v>
                </c:pt>
                <c:pt idx="999">
                  <c:v>138.44784248065474</c:v>
                </c:pt>
                <c:pt idx="1000">
                  <c:v>138.53162966083812</c:v>
                </c:pt>
                <c:pt idx="1001">
                  <c:v>137.80896522838111</c:v>
                </c:pt>
                <c:pt idx="1002">
                  <c:v>135.76665270268177</c:v>
                </c:pt>
                <c:pt idx="1003">
                  <c:v>136.90825303791797</c:v>
                </c:pt>
                <c:pt idx="1004">
                  <c:v>135.36866359425014</c:v>
                </c:pt>
                <c:pt idx="1005">
                  <c:v>136.049434437081</c:v>
                </c:pt>
                <c:pt idx="1006">
                  <c:v>134.97067448674957</c:v>
                </c:pt>
                <c:pt idx="1007">
                  <c:v>136.3217427738409</c:v>
                </c:pt>
                <c:pt idx="1008">
                  <c:v>135.03351487258547</c:v>
                </c:pt>
                <c:pt idx="1009">
                  <c:v>131.59824046923757</c:v>
                </c:pt>
                <c:pt idx="1010">
                  <c:v>132.67700041956897</c:v>
                </c:pt>
                <c:pt idx="1011">
                  <c:v>133.01214914123366</c:v>
                </c:pt>
                <c:pt idx="1012">
                  <c:v>130.79178885659712</c:v>
                </c:pt>
                <c:pt idx="1013">
                  <c:v>129.54545454589893</c:v>
                </c:pt>
                <c:pt idx="1014">
                  <c:v>129.01131127001841</c:v>
                </c:pt>
                <c:pt idx="1015">
                  <c:v>126.89568495991284</c:v>
                </c:pt>
                <c:pt idx="1016">
                  <c:v>126.9585253457487</c:v>
                </c:pt>
                <c:pt idx="1017">
                  <c:v>127.17846669431205</c:v>
                </c:pt>
                <c:pt idx="1018">
                  <c:v>122.88437369105827</c:v>
                </c:pt>
                <c:pt idx="1019">
                  <c:v>122.15123586096195</c:v>
                </c:pt>
                <c:pt idx="1020">
                  <c:v>125.87976539634835</c:v>
                </c:pt>
                <c:pt idx="1021">
                  <c:v>124.8428990365742</c:v>
                </c:pt>
                <c:pt idx="1022">
                  <c:v>127.70213657348435</c:v>
                </c:pt>
                <c:pt idx="1023">
                  <c:v>128.58190196959993</c:v>
                </c:pt>
                <c:pt idx="1024">
                  <c:v>129.81776288265883</c:v>
                </c:pt>
                <c:pt idx="1025">
                  <c:v>129.31503979876516</c:v>
                </c:pt>
                <c:pt idx="1026">
                  <c:v>128.06870548806697</c:v>
                </c:pt>
                <c:pt idx="1027">
                  <c:v>129.81776288265883</c:v>
                </c:pt>
                <c:pt idx="1028">
                  <c:v>129.39882697987966</c:v>
                </c:pt>
                <c:pt idx="1029">
                  <c:v>129.98533724395671</c:v>
                </c:pt>
                <c:pt idx="1030">
                  <c:v>132.77126099739169</c:v>
                </c:pt>
                <c:pt idx="1031">
                  <c:v>131.70297444469955</c:v>
                </c:pt>
                <c:pt idx="1032">
                  <c:v>129.97486384631742</c:v>
                </c:pt>
                <c:pt idx="1033">
                  <c:v>132.16380393803598</c:v>
                </c:pt>
                <c:pt idx="1034">
                  <c:v>132.5932132384545</c:v>
                </c:pt>
                <c:pt idx="1035">
                  <c:v>131.31545873483833</c:v>
                </c:pt>
                <c:pt idx="1036">
                  <c:v>132.41516547951727</c:v>
                </c:pt>
                <c:pt idx="1037">
                  <c:v>132.86552157521442</c:v>
                </c:pt>
                <c:pt idx="1038">
                  <c:v>130.76036866367923</c:v>
                </c:pt>
                <c:pt idx="1039">
                  <c:v>131.15835777117974</c:v>
                </c:pt>
                <c:pt idx="1040">
                  <c:v>131.40971931359212</c:v>
                </c:pt>
                <c:pt idx="1041">
                  <c:v>132.32090490169458</c:v>
                </c:pt>
                <c:pt idx="1042">
                  <c:v>133.76623376660862</c:v>
                </c:pt>
                <c:pt idx="1043">
                  <c:v>133.94428152554582</c:v>
                </c:pt>
                <c:pt idx="1044">
                  <c:v>133.25303728507564</c:v>
                </c:pt>
                <c:pt idx="1045">
                  <c:v>136.71973188134149</c:v>
                </c:pt>
                <c:pt idx="1046">
                  <c:v>137.45286971143778</c:v>
                </c:pt>
                <c:pt idx="1047">
                  <c:v>138.09174696278035</c:v>
                </c:pt>
                <c:pt idx="1048">
                  <c:v>138.07080016750172</c:v>
                </c:pt>
                <c:pt idx="1049">
                  <c:v>138.83535819051596</c:v>
                </c:pt>
                <c:pt idx="1050">
                  <c:v>138.99245915417455</c:v>
                </c:pt>
                <c:pt idx="1051">
                  <c:v>138.36405529954024</c:v>
                </c:pt>
                <c:pt idx="1052">
                  <c:v>138.69920402213603</c:v>
                </c:pt>
                <c:pt idx="1053">
                  <c:v>139.27524088857376</c:v>
                </c:pt>
                <c:pt idx="1054">
                  <c:v>137.32718894069714</c:v>
                </c:pt>
                <c:pt idx="1055">
                  <c:v>140.52157519927198</c:v>
                </c:pt>
                <c:pt idx="1056">
                  <c:v>139.48470883949781</c:v>
                </c:pt>
                <c:pt idx="1057">
                  <c:v>135.98659405124513</c:v>
                </c:pt>
                <c:pt idx="1058">
                  <c:v>135.43150398008601</c:v>
                </c:pt>
                <c:pt idx="1059">
                  <c:v>135.59907834138389</c:v>
                </c:pt>
                <c:pt idx="1060">
                  <c:v>132.03812316729534</c:v>
                </c:pt>
                <c:pt idx="1061">
                  <c:v>128.86468370399916</c:v>
                </c:pt>
                <c:pt idx="1062">
                  <c:v>131.50397989141484</c:v>
                </c:pt>
                <c:pt idx="1063">
                  <c:v>131.44113950557897</c:v>
                </c:pt>
                <c:pt idx="1064">
                  <c:v>135.45245077536464</c:v>
                </c:pt>
                <c:pt idx="1065">
                  <c:v>135.28487641406676</c:v>
                </c:pt>
                <c:pt idx="1066">
                  <c:v>136.02848764180237</c:v>
                </c:pt>
                <c:pt idx="1067">
                  <c:v>137.48428990342464</c:v>
                </c:pt>
                <c:pt idx="1068">
                  <c:v>137.22245496430406</c:v>
                </c:pt>
                <c:pt idx="1069">
                  <c:v>137.17008797703855</c:v>
                </c:pt>
                <c:pt idx="1070">
                  <c:v>135.44197737772532</c:v>
                </c:pt>
                <c:pt idx="1071">
                  <c:v>135.85043988286517</c:v>
                </c:pt>
                <c:pt idx="1072">
                  <c:v>135.70381231684593</c:v>
                </c:pt>
                <c:pt idx="1073">
                  <c:v>131.52492668669348</c:v>
                </c:pt>
                <c:pt idx="1074">
                  <c:v>130.80226225423647</c:v>
                </c:pt>
                <c:pt idx="1075">
                  <c:v>131.38877251831354</c:v>
                </c:pt>
                <c:pt idx="1076">
                  <c:v>135.49434436592188</c:v>
                </c:pt>
                <c:pt idx="1077">
                  <c:v>132.69794721391651</c:v>
                </c:pt>
                <c:pt idx="1078">
                  <c:v>134.13280268119124</c:v>
                </c:pt>
                <c:pt idx="1079">
                  <c:v>136.2065353998085</c:v>
                </c:pt>
                <c:pt idx="1080">
                  <c:v>134.5517385839704</c:v>
                </c:pt>
                <c:pt idx="1081">
                  <c:v>137.14914118175997</c:v>
                </c:pt>
                <c:pt idx="1082">
                  <c:v>138.83535819051596</c:v>
                </c:pt>
                <c:pt idx="1083">
                  <c:v>139.90364474227698</c:v>
                </c:pt>
                <c:pt idx="1084">
                  <c:v>140.80435693367119</c:v>
                </c:pt>
                <c:pt idx="1085">
                  <c:v>141.83074989580606</c:v>
                </c:pt>
                <c:pt idx="1086">
                  <c:v>144.06158357808189</c:v>
                </c:pt>
                <c:pt idx="1087">
                  <c:v>146.4599916216556</c:v>
                </c:pt>
                <c:pt idx="1088">
                  <c:v>147.90532048656965</c:v>
                </c:pt>
                <c:pt idx="1089">
                  <c:v>146.1772098872564</c:v>
                </c:pt>
                <c:pt idx="1090">
                  <c:v>145.96774193540128</c:v>
                </c:pt>
                <c:pt idx="1091">
                  <c:v>146.42857142873768</c:v>
                </c:pt>
                <c:pt idx="1092">
                  <c:v>145.69543359864136</c:v>
                </c:pt>
                <c:pt idx="1093">
                  <c:v>146.21910347781363</c:v>
                </c:pt>
                <c:pt idx="1094">
                  <c:v>148.02052785967101</c:v>
                </c:pt>
                <c:pt idx="1095">
                  <c:v>148.28236279879158</c:v>
                </c:pt>
                <c:pt idx="1096">
                  <c:v>148.29283619643093</c:v>
                </c:pt>
                <c:pt idx="1097">
                  <c:v>147.9157938832779</c:v>
                </c:pt>
                <c:pt idx="1098">
                  <c:v>145.84206116466061</c:v>
                </c:pt>
                <c:pt idx="1099">
                  <c:v>147.42354419795461</c:v>
                </c:pt>
                <c:pt idx="1100">
                  <c:v>147.1198156682768</c:v>
                </c:pt>
                <c:pt idx="1101">
                  <c:v>149.15165479726789</c:v>
                </c:pt>
                <c:pt idx="1102">
                  <c:v>150.19899455375025</c:v>
                </c:pt>
                <c:pt idx="1103">
                  <c:v>149.69627147078771</c:v>
                </c:pt>
                <c:pt idx="1104">
                  <c:v>149.72769166370563</c:v>
                </c:pt>
                <c:pt idx="1105">
                  <c:v>151.12065354042309</c:v>
                </c:pt>
                <c:pt idx="1106">
                  <c:v>152.0842061167221</c:v>
                </c:pt>
                <c:pt idx="1107">
                  <c:v>152.22036028510206</c:v>
                </c:pt>
                <c:pt idx="1108">
                  <c:v>153.52953498163612</c:v>
                </c:pt>
                <c:pt idx="1109">
                  <c:v>154.53498114849239</c:v>
                </c:pt>
                <c:pt idx="1110">
                  <c:v>154.25219941409318</c:v>
                </c:pt>
                <c:pt idx="1111">
                  <c:v>155.57184750733546</c:v>
                </c:pt>
                <c:pt idx="1112">
                  <c:v>156.38877251761519</c:v>
                </c:pt>
                <c:pt idx="1113">
                  <c:v>156.22119815724841</c:v>
                </c:pt>
                <c:pt idx="1114">
                  <c:v>154.48261416029584</c:v>
                </c:pt>
                <c:pt idx="1115">
                  <c:v>155.66610808608925</c:v>
                </c:pt>
                <c:pt idx="1116">
                  <c:v>157.31043150428806</c:v>
                </c:pt>
                <c:pt idx="1117">
                  <c:v>157.58273984104792</c:v>
                </c:pt>
                <c:pt idx="1118">
                  <c:v>157.25806451609151</c:v>
                </c:pt>
                <c:pt idx="1119">
                  <c:v>155.74989526627269</c:v>
                </c:pt>
                <c:pt idx="1120">
                  <c:v>159.13280268142401</c:v>
                </c:pt>
                <c:pt idx="1121">
                  <c:v>159.05948889887992</c:v>
                </c:pt>
                <c:pt idx="1122">
                  <c:v>159.75073313841901</c:v>
                </c:pt>
                <c:pt idx="1123">
                  <c:v>161.76162547120038</c:v>
                </c:pt>
                <c:pt idx="1124">
                  <c:v>160.09635525772299</c:v>
                </c:pt>
                <c:pt idx="1125">
                  <c:v>159.88688730679897</c:v>
                </c:pt>
                <c:pt idx="1126">
                  <c:v>160.12777545064094</c:v>
                </c:pt>
                <c:pt idx="1127">
                  <c:v>162.12819438671409</c:v>
                </c:pt>
                <c:pt idx="1128">
                  <c:v>161.18558860476264</c:v>
                </c:pt>
                <c:pt idx="1129">
                  <c:v>162.46334310837881</c:v>
                </c:pt>
                <c:pt idx="1130">
                  <c:v>160.57813154633806</c:v>
                </c:pt>
                <c:pt idx="1131">
                  <c:v>159.75073313841901</c:v>
                </c:pt>
                <c:pt idx="1132">
                  <c:v>160.18014243883749</c:v>
                </c:pt>
                <c:pt idx="1133">
                  <c:v>162.42144951875261</c:v>
                </c:pt>
                <c:pt idx="1134">
                  <c:v>161.10180142457924</c:v>
                </c:pt>
                <c:pt idx="1135">
                  <c:v>161.84541265231488</c:v>
                </c:pt>
                <c:pt idx="1136">
                  <c:v>162.14914118199272</c:v>
                </c:pt>
                <c:pt idx="1137">
                  <c:v>164.4113950571865</c:v>
                </c:pt>
                <c:pt idx="1138">
                  <c:v>163.66778382945085</c:v>
                </c:pt>
                <c:pt idx="1139">
                  <c:v>165.52157519950475</c:v>
                </c:pt>
                <c:pt idx="1140">
                  <c:v>167.0297444493236</c:v>
                </c:pt>
                <c:pt idx="1141">
                  <c:v>167.42773355682411</c:v>
                </c:pt>
                <c:pt idx="1142">
                  <c:v>166.0871386683032</c:v>
                </c:pt>
                <c:pt idx="1143">
                  <c:v>166.7260159196457</c:v>
                </c:pt>
                <c:pt idx="1144">
                  <c:v>164.71512358593324</c:v>
                </c:pt>
                <c:pt idx="1145">
                  <c:v>161.39505655661776</c:v>
                </c:pt>
                <c:pt idx="1146">
                  <c:v>163.09174696301312</c:v>
                </c:pt>
                <c:pt idx="1147">
                  <c:v>163.7934646001915</c:v>
                </c:pt>
                <c:pt idx="1148">
                  <c:v>163.6154168412543</c:v>
                </c:pt>
                <c:pt idx="1149">
                  <c:v>162.56807708477191</c:v>
                </c:pt>
                <c:pt idx="1150">
                  <c:v>163.52115626343161</c:v>
                </c:pt>
                <c:pt idx="1151">
                  <c:v>165.89861751172668</c:v>
                </c:pt>
                <c:pt idx="1152">
                  <c:v>163.36405529977301</c:v>
                </c:pt>
                <c:pt idx="1153">
                  <c:v>159.028068705962</c:v>
                </c:pt>
                <c:pt idx="1154">
                  <c:v>159.2061164639681</c:v>
                </c:pt>
                <c:pt idx="1155">
                  <c:v>159.21658986160742</c:v>
                </c:pt>
                <c:pt idx="1156">
                  <c:v>160.50481776286287</c:v>
                </c:pt>
                <c:pt idx="1157">
                  <c:v>156.93338919206613</c:v>
                </c:pt>
                <c:pt idx="1158">
                  <c:v>157.01717637224954</c:v>
                </c:pt>
                <c:pt idx="1159">
                  <c:v>157.5094260575728</c:v>
                </c:pt>
                <c:pt idx="1160">
                  <c:v>161.31126937643438</c:v>
                </c:pt>
                <c:pt idx="1161">
                  <c:v>161.02848764203515</c:v>
                </c:pt>
                <c:pt idx="1162">
                  <c:v>159.12232928378469</c:v>
                </c:pt>
                <c:pt idx="1163">
                  <c:v>158.72434017628413</c:v>
                </c:pt>
                <c:pt idx="1164">
                  <c:v>160.73523250999662</c:v>
                </c:pt>
                <c:pt idx="1165">
                  <c:v>159.91830749878579</c:v>
                </c:pt>
                <c:pt idx="1166">
                  <c:v>160.78759949726208</c:v>
                </c:pt>
                <c:pt idx="1167">
                  <c:v>164.04482614167279</c:v>
                </c:pt>
                <c:pt idx="1168">
                  <c:v>164.53707582792714</c:v>
                </c:pt>
                <c:pt idx="1169">
                  <c:v>164.74654377885119</c:v>
                </c:pt>
                <c:pt idx="1170">
                  <c:v>164.48470883973059</c:v>
                </c:pt>
                <c:pt idx="1171">
                  <c:v>163.45831587759574</c:v>
                </c:pt>
                <c:pt idx="1172">
                  <c:v>162.05488060323893</c:v>
                </c:pt>
                <c:pt idx="1173">
                  <c:v>164.6732299963071</c:v>
                </c:pt>
                <c:pt idx="1174">
                  <c:v>163.68873062472949</c:v>
                </c:pt>
                <c:pt idx="1175">
                  <c:v>160.5257645581415</c:v>
                </c:pt>
                <c:pt idx="1176">
                  <c:v>160.81901969018003</c:v>
                </c:pt>
                <c:pt idx="1177">
                  <c:v>160.14872224591954</c:v>
                </c:pt>
                <c:pt idx="1178">
                  <c:v>160.9447004609207</c:v>
                </c:pt>
                <c:pt idx="1179">
                  <c:v>159.61457897003902</c:v>
                </c:pt>
                <c:pt idx="1180">
                  <c:v>157.4675324679466</c:v>
                </c:pt>
                <c:pt idx="1181">
                  <c:v>155.80226225446921</c:v>
                </c:pt>
                <c:pt idx="1182">
                  <c:v>155.39379974839827</c:v>
                </c:pt>
                <c:pt idx="1183">
                  <c:v>158.33682446642291</c:v>
                </c:pt>
                <c:pt idx="1184">
                  <c:v>159.39463762054461</c:v>
                </c:pt>
                <c:pt idx="1185">
                  <c:v>157.36279849248461</c:v>
                </c:pt>
                <c:pt idx="1186">
                  <c:v>154.55592794283993</c:v>
                </c:pt>
                <c:pt idx="1187">
                  <c:v>155.34143276113281</c:v>
                </c:pt>
                <c:pt idx="1188">
                  <c:v>154.14746543770005</c:v>
                </c:pt>
                <c:pt idx="1189">
                  <c:v>155.09007121965152</c:v>
                </c:pt>
                <c:pt idx="1190">
                  <c:v>155.42521994131619</c:v>
                </c:pt>
                <c:pt idx="1191">
                  <c:v>160.96564725619928</c:v>
                </c:pt>
                <c:pt idx="1192">
                  <c:v>162.41097612111332</c:v>
                </c:pt>
                <c:pt idx="1193">
                  <c:v>161.62547130282044</c:v>
                </c:pt>
                <c:pt idx="1194">
                  <c:v>161.76162547120038</c:v>
                </c:pt>
                <c:pt idx="1195">
                  <c:v>162.30624214472022</c:v>
                </c:pt>
                <c:pt idx="1196">
                  <c:v>156.17930456669114</c:v>
                </c:pt>
                <c:pt idx="1197">
                  <c:v>154.30456640135864</c:v>
                </c:pt>
                <c:pt idx="1198">
                  <c:v>157.37327188919284</c:v>
                </c:pt>
                <c:pt idx="1199">
                  <c:v>155.98031001247531</c:v>
                </c:pt>
                <c:pt idx="1200">
                  <c:v>155.23669878567077</c:v>
                </c:pt>
                <c:pt idx="1201">
                  <c:v>152.20988688746274</c:v>
                </c:pt>
                <c:pt idx="1202">
                  <c:v>149.08881441143203</c:v>
                </c:pt>
                <c:pt idx="1203">
                  <c:v>150.27230833722544</c:v>
                </c:pt>
                <c:pt idx="1204">
                  <c:v>154.1160452457132</c:v>
                </c:pt>
                <c:pt idx="1205">
                  <c:v>158.52534562206833</c:v>
                </c:pt>
                <c:pt idx="1206">
                  <c:v>161.14369501513647</c:v>
                </c:pt>
                <c:pt idx="1207">
                  <c:v>161.70925848393492</c:v>
                </c:pt>
                <c:pt idx="1208">
                  <c:v>162.4947633012967</c:v>
                </c:pt>
                <c:pt idx="1209">
                  <c:v>164.79891076704774</c:v>
                </c:pt>
                <c:pt idx="1210">
                  <c:v>164.68370339394639</c:v>
                </c:pt>
                <c:pt idx="1211">
                  <c:v>165.61583577732748</c:v>
                </c:pt>
                <c:pt idx="1212">
                  <c:v>164.00293255111555</c:v>
                </c:pt>
                <c:pt idx="1213">
                  <c:v>163.38500209505165</c:v>
                </c:pt>
                <c:pt idx="1214">
                  <c:v>163.24884792667166</c:v>
                </c:pt>
                <c:pt idx="1215">
                  <c:v>161.76162547120038</c:v>
                </c:pt>
                <c:pt idx="1216">
                  <c:v>157.9702555509092</c:v>
                </c:pt>
                <c:pt idx="1217">
                  <c:v>159.67741935494382</c:v>
                </c:pt>
                <c:pt idx="1218">
                  <c:v>160.43150398031878</c:v>
                </c:pt>
                <c:pt idx="1219">
                  <c:v>160.85043988309795</c:v>
                </c:pt>
                <c:pt idx="1220">
                  <c:v>161.60452450754181</c:v>
                </c:pt>
                <c:pt idx="1221">
                  <c:v>163.14411395120968</c:v>
                </c:pt>
                <c:pt idx="1222">
                  <c:v>162.77754503569594</c:v>
                </c:pt>
                <c:pt idx="1223">
                  <c:v>164.88269794723112</c:v>
                </c:pt>
                <c:pt idx="1224">
                  <c:v>164.43234185153403</c:v>
                </c:pt>
                <c:pt idx="1225">
                  <c:v>163.11269375829173</c:v>
                </c:pt>
                <c:pt idx="1226">
                  <c:v>164.56849601991399</c:v>
                </c:pt>
                <c:pt idx="1227">
                  <c:v>161.63594470045973</c:v>
                </c:pt>
                <c:pt idx="1228">
                  <c:v>156.59824046947034</c:v>
                </c:pt>
                <c:pt idx="1229">
                  <c:v>158.29493087586565</c:v>
                </c:pt>
                <c:pt idx="1230">
                  <c:v>157.64558022688379</c:v>
                </c:pt>
                <c:pt idx="1231">
                  <c:v>157.85504817780787</c:v>
                </c:pt>
                <c:pt idx="1232">
                  <c:v>157.93883535799128</c:v>
                </c:pt>
                <c:pt idx="1233">
                  <c:v>155.17385839983493</c:v>
                </c:pt>
                <c:pt idx="1234">
                  <c:v>151.70716380450017</c:v>
                </c:pt>
                <c:pt idx="1235">
                  <c:v>147.09886887299814</c:v>
                </c:pt>
                <c:pt idx="1236">
                  <c:v>139.68370339371364</c:v>
                </c:pt>
                <c:pt idx="1237">
                  <c:v>145.87348135757856</c:v>
                </c:pt>
                <c:pt idx="1238">
                  <c:v>144.03016338516397</c:v>
                </c:pt>
                <c:pt idx="1239">
                  <c:v>148.66987850865283</c:v>
                </c:pt>
                <c:pt idx="1240">
                  <c:v>148.80603267703279</c:v>
                </c:pt>
                <c:pt idx="1241">
                  <c:v>148.24046920823434</c:v>
                </c:pt>
                <c:pt idx="1242">
                  <c:v>144.71093422706375</c:v>
                </c:pt>
                <c:pt idx="1243">
                  <c:v>145.08797654021677</c:v>
                </c:pt>
                <c:pt idx="1244">
                  <c:v>148.28236279879158</c:v>
                </c:pt>
                <c:pt idx="1245">
                  <c:v>144.47004608322177</c:v>
                </c:pt>
              </c:numCache>
            </c:numRef>
          </c:val>
          <c:smooth val="0"/>
        </c:ser>
        <c:ser>
          <c:idx val="2"/>
          <c:order val="2"/>
          <c:tx>
            <c:strRef>
              <c:f>Sheet1!$D$1</c:f>
              <c:strCache>
                <c:ptCount val="1"/>
              </c:strCache>
            </c:strRef>
          </c:tx>
          <c:spPr>
            <a:ln w="12700">
              <a:solidFill>
                <a:srgbClr val="665C8C"/>
              </a:solidFill>
            </a:ln>
          </c:spPr>
          <c:marker>
            <c:symbol val="none"/>
          </c:marker>
          <c:cat>
            <c:numRef>
              <c:f>Sheet1!$A$2:$A$1247</c:f>
              <c:numCache>
                <c:formatCode>m/d/yyyy\ h:mm</c:formatCode>
                <c:ptCount val="1246"/>
                <c:pt idx="0">
                  <c:v>40480</c:v>
                </c:pt>
                <c:pt idx="1">
                  <c:v>40483</c:v>
                </c:pt>
                <c:pt idx="2">
                  <c:v>40484</c:v>
                </c:pt>
                <c:pt idx="3">
                  <c:v>40485</c:v>
                </c:pt>
                <c:pt idx="4">
                  <c:v>40486</c:v>
                </c:pt>
                <c:pt idx="5">
                  <c:v>40487</c:v>
                </c:pt>
                <c:pt idx="6">
                  <c:v>40490</c:v>
                </c:pt>
                <c:pt idx="7">
                  <c:v>40491</c:v>
                </c:pt>
                <c:pt idx="8">
                  <c:v>40492</c:v>
                </c:pt>
                <c:pt idx="9">
                  <c:v>40493</c:v>
                </c:pt>
                <c:pt idx="10">
                  <c:v>40494</c:v>
                </c:pt>
                <c:pt idx="11">
                  <c:v>40497</c:v>
                </c:pt>
                <c:pt idx="12">
                  <c:v>40498</c:v>
                </c:pt>
                <c:pt idx="13">
                  <c:v>40499</c:v>
                </c:pt>
                <c:pt idx="14">
                  <c:v>40500</c:v>
                </c:pt>
                <c:pt idx="15">
                  <c:v>40501</c:v>
                </c:pt>
                <c:pt idx="16">
                  <c:v>40504</c:v>
                </c:pt>
                <c:pt idx="17">
                  <c:v>40505</c:v>
                </c:pt>
                <c:pt idx="18">
                  <c:v>40506</c:v>
                </c:pt>
                <c:pt idx="19">
                  <c:v>40507</c:v>
                </c:pt>
                <c:pt idx="20">
                  <c:v>40508</c:v>
                </c:pt>
                <c:pt idx="21">
                  <c:v>40511</c:v>
                </c:pt>
                <c:pt idx="22">
                  <c:v>40512</c:v>
                </c:pt>
                <c:pt idx="23">
                  <c:v>40513</c:v>
                </c:pt>
                <c:pt idx="24">
                  <c:v>40514</c:v>
                </c:pt>
                <c:pt idx="25">
                  <c:v>40515</c:v>
                </c:pt>
                <c:pt idx="26">
                  <c:v>40518</c:v>
                </c:pt>
                <c:pt idx="27">
                  <c:v>40519</c:v>
                </c:pt>
                <c:pt idx="28">
                  <c:v>40520</c:v>
                </c:pt>
                <c:pt idx="29">
                  <c:v>40521</c:v>
                </c:pt>
                <c:pt idx="30">
                  <c:v>40522</c:v>
                </c:pt>
                <c:pt idx="31">
                  <c:v>40525</c:v>
                </c:pt>
                <c:pt idx="32">
                  <c:v>40526</c:v>
                </c:pt>
                <c:pt idx="33">
                  <c:v>40527</c:v>
                </c:pt>
                <c:pt idx="34">
                  <c:v>40528</c:v>
                </c:pt>
                <c:pt idx="35">
                  <c:v>40529</c:v>
                </c:pt>
                <c:pt idx="36">
                  <c:v>40532</c:v>
                </c:pt>
                <c:pt idx="37">
                  <c:v>40533</c:v>
                </c:pt>
                <c:pt idx="38">
                  <c:v>40534</c:v>
                </c:pt>
                <c:pt idx="39">
                  <c:v>40535</c:v>
                </c:pt>
                <c:pt idx="40">
                  <c:v>40536</c:v>
                </c:pt>
                <c:pt idx="41">
                  <c:v>40539</c:v>
                </c:pt>
                <c:pt idx="42">
                  <c:v>40540</c:v>
                </c:pt>
                <c:pt idx="43">
                  <c:v>40541</c:v>
                </c:pt>
                <c:pt idx="44">
                  <c:v>40542</c:v>
                </c:pt>
                <c:pt idx="45">
                  <c:v>40543</c:v>
                </c:pt>
                <c:pt idx="46">
                  <c:v>40546</c:v>
                </c:pt>
                <c:pt idx="47">
                  <c:v>40547</c:v>
                </c:pt>
                <c:pt idx="48">
                  <c:v>40548</c:v>
                </c:pt>
                <c:pt idx="49">
                  <c:v>40549</c:v>
                </c:pt>
                <c:pt idx="50">
                  <c:v>40550</c:v>
                </c:pt>
                <c:pt idx="51">
                  <c:v>40553</c:v>
                </c:pt>
                <c:pt idx="52">
                  <c:v>40554</c:v>
                </c:pt>
                <c:pt idx="53">
                  <c:v>40555</c:v>
                </c:pt>
                <c:pt idx="54">
                  <c:v>40556</c:v>
                </c:pt>
                <c:pt idx="55">
                  <c:v>40557</c:v>
                </c:pt>
                <c:pt idx="56">
                  <c:v>40560</c:v>
                </c:pt>
                <c:pt idx="57">
                  <c:v>40561</c:v>
                </c:pt>
                <c:pt idx="58">
                  <c:v>40562</c:v>
                </c:pt>
                <c:pt idx="59">
                  <c:v>40563</c:v>
                </c:pt>
                <c:pt idx="60">
                  <c:v>40564</c:v>
                </c:pt>
                <c:pt idx="61">
                  <c:v>40567</c:v>
                </c:pt>
                <c:pt idx="62">
                  <c:v>40568</c:v>
                </c:pt>
                <c:pt idx="63">
                  <c:v>40569</c:v>
                </c:pt>
                <c:pt idx="64">
                  <c:v>40570</c:v>
                </c:pt>
                <c:pt idx="65">
                  <c:v>40571</c:v>
                </c:pt>
                <c:pt idx="66">
                  <c:v>40574</c:v>
                </c:pt>
                <c:pt idx="67">
                  <c:v>40575</c:v>
                </c:pt>
                <c:pt idx="68">
                  <c:v>40576</c:v>
                </c:pt>
                <c:pt idx="69">
                  <c:v>40577</c:v>
                </c:pt>
                <c:pt idx="70">
                  <c:v>40578</c:v>
                </c:pt>
                <c:pt idx="71">
                  <c:v>40581</c:v>
                </c:pt>
                <c:pt idx="72">
                  <c:v>40582</c:v>
                </c:pt>
                <c:pt idx="73">
                  <c:v>40583</c:v>
                </c:pt>
                <c:pt idx="74">
                  <c:v>40584</c:v>
                </c:pt>
                <c:pt idx="75">
                  <c:v>40585</c:v>
                </c:pt>
                <c:pt idx="76">
                  <c:v>40588</c:v>
                </c:pt>
                <c:pt idx="77">
                  <c:v>40589</c:v>
                </c:pt>
                <c:pt idx="78">
                  <c:v>40590</c:v>
                </c:pt>
                <c:pt idx="79">
                  <c:v>40591</c:v>
                </c:pt>
                <c:pt idx="80">
                  <c:v>40592</c:v>
                </c:pt>
                <c:pt idx="81">
                  <c:v>40595</c:v>
                </c:pt>
                <c:pt idx="82">
                  <c:v>40596</c:v>
                </c:pt>
                <c:pt idx="83">
                  <c:v>40597</c:v>
                </c:pt>
                <c:pt idx="84">
                  <c:v>40598</c:v>
                </c:pt>
                <c:pt idx="85">
                  <c:v>40599</c:v>
                </c:pt>
                <c:pt idx="86">
                  <c:v>40602</c:v>
                </c:pt>
                <c:pt idx="87">
                  <c:v>40603</c:v>
                </c:pt>
                <c:pt idx="88">
                  <c:v>40604</c:v>
                </c:pt>
                <c:pt idx="89">
                  <c:v>40605</c:v>
                </c:pt>
                <c:pt idx="90">
                  <c:v>40606</c:v>
                </c:pt>
                <c:pt idx="91">
                  <c:v>40609</c:v>
                </c:pt>
                <c:pt idx="92">
                  <c:v>40610</c:v>
                </c:pt>
                <c:pt idx="93">
                  <c:v>40611</c:v>
                </c:pt>
                <c:pt idx="94">
                  <c:v>40612</c:v>
                </c:pt>
                <c:pt idx="95">
                  <c:v>40613</c:v>
                </c:pt>
                <c:pt idx="96">
                  <c:v>40616</c:v>
                </c:pt>
                <c:pt idx="97">
                  <c:v>40617</c:v>
                </c:pt>
                <c:pt idx="98">
                  <c:v>40618</c:v>
                </c:pt>
                <c:pt idx="99">
                  <c:v>40619</c:v>
                </c:pt>
                <c:pt idx="100">
                  <c:v>40620</c:v>
                </c:pt>
                <c:pt idx="101">
                  <c:v>40623</c:v>
                </c:pt>
                <c:pt idx="102">
                  <c:v>40624</c:v>
                </c:pt>
                <c:pt idx="103">
                  <c:v>40625</c:v>
                </c:pt>
                <c:pt idx="104">
                  <c:v>40626</c:v>
                </c:pt>
                <c:pt idx="105">
                  <c:v>40627</c:v>
                </c:pt>
                <c:pt idx="106">
                  <c:v>40630</c:v>
                </c:pt>
                <c:pt idx="107">
                  <c:v>40631</c:v>
                </c:pt>
                <c:pt idx="108">
                  <c:v>40632</c:v>
                </c:pt>
                <c:pt idx="109">
                  <c:v>40633</c:v>
                </c:pt>
                <c:pt idx="110">
                  <c:v>40634</c:v>
                </c:pt>
                <c:pt idx="111">
                  <c:v>40637</c:v>
                </c:pt>
                <c:pt idx="112">
                  <c:v>40638</c:v>
                </c:pt>
                <c:pt idx="113">
                  <c:v>40639</c:v>
                </c:pt>
                <c:pt idx="114">
                  <c:v>40640</c:v>
                </c:pt>
                <c:pt idx="115">
                  <c:v>40641</c:v>
                </c:pt>
                <c:pt idx="116">
                  <c:v>40644</c:v>
                </c:pt>
                <c:pt idx="117">
                  <c:v>40645</c:v>
                </c:pt>
                <c:pt idx="118">
                  <c:v>40646</c:v>
                </c:pt>
                <c:pt idx="119">
                  <c:v>40647</c:v>
                </c:pt>
                <c:pt idx="120">
                  <c:v>40648</c:v>
                </c:pt>
                <c:pt idx="121">
                  <c:v>40651</c:v>
                </c:pt>
                <c:pt idx="122">
                  <c:v>40652</c:v>
                </c:pt>
                <c:pt idx="123">
                  <c:v>40653</c:v>
                </c:pt>
                <c:pt idx="124">
                  <c:v>40654</c:v>
                </c:pt>
                <c:pt idx="125">
                  <c:v>40659</c:v>
                </c:pt>
                <c:pt idx="126">
                  <c:v>40660</c:v>
                </c:pt>
                <c:pt idx="127">
                  <c:v>40661</c:v>
                </c:pt>
                <c:pt idx="128">
                  <c:v>40662</c:v>
                </c:pt>
                <c:pt idx="129">
                  <c:v>40665</c:v>
                </c:pt>
                <c:pt idx="130">
                  <c:v>40666</c:v>
                </c:pt>
                <c:pt idx="131">
                  <c:v>40667</c:v>
                </c:pt>
                <c:pt idx="132">
                  <c:v>40668</c:v>
                </c:pt>
                <c:pt idx="133">
                  <c:v>40669</c:v>
                </c:pt>
                <c:pt idx="134">
                  <c:v>40672</c:v>
                </c:pt>
                <c:pt idx="135">
                  <c:v>40673</c:v>
                </c:pt>
                <c:pt idx="136">
                  <c:v>40674</c:v>
                </c:pt>
                <c:pt idx="137">
                  <c:v>40675</c:v>
                </c:pt>
                <c:pt idx="138">
                  <c:v>40676</c:v>
                </c:pt>
                <c:pt idx="139">
                  <c:v>40679</c:v>
                </c:pt>
                <c:pt idx="140">
                  <c:v>40680</c:v>
                </c:pt>
                <c:pt idx="141">
                  <c:v>40681</c:v>
                </c:pt>
                <c:pt idx="142">
                  <c:v>40682</c:v>
                </c:pt>
                <c:pt idx="143">
                  <c:v>40683</c:v>
                </c:pt>
                <c:pt idx="144">
                  <c:v>40686</c:v>
                </c:pt>
                <c:pt idx="145">
                  <c:v>40687</c:v>
                </c:pt>
                <c:pt idx="146">
                  <c:v>40688</c:v>
                </c:pt>
                <c:pt idx="147">
                  <c:v>40689</c:v>
                </c:pt>
                <c:pt idx="148">
                  <c:v>40690</c:v>
                </c:pt>
                <c:pt idx="149">
                  <c:v>40693</c:v>
                </c:pt>
                <c:pt idx="150">
                  <c:v>40694</c:v>
                </c:pt>
                <c:pt idx="151">
                  <c:v>40695</c:v>
                </c:pt>
                <c:pt idx="152">
                  <c:v>40696</c:v>
                </c:pt>
                <c:pt idx="153">
                  <c:v>40697</c:v>
                </c:pt>
                <c:pt idx="154">
                  <c:v>40700</c:v>
                </c:pt>
                <c:pt idx="155">
                  <c:v>40701</c:v>
                </c:pt>
                <c:pt idx="156">
                  <c:v>40702</c:v>
                </c:pt>
                <c:pt idx="157">
                  <c:v>40703</c:v>
                </c:pt>
                <c:pt idx="158">
                  <c:v>40704</c:v>
                </c:pt>
                <c:pt idx="159">
                  <c:v>40707</c:v>
                </c:pt>
                <c:pt idx="160">
                  <c:v>40708</c:v>
                </c:pt>
                <c:pt idx="161">
                  <c:v>40709</c:v>
                </c:pt>
                <c:pt idx="162">
                  <c:v>40710</c:v>
                </c:pt>
                <c:pt idx="163">
                  <c:v>40711</c:v>
                </c:pt>
                <c:pt idx="164">
                  <c:v>40714</c:v>
                </c:pt>
                <c:pt idx="165">
                  <c:v>40715</c:v>
                </c:pt>
                <c:pt idx="166">
                  <c:v>40716</c:v>
                </c:pt>
                <c:pt idx="167">
                  <c:v>40717</c:v>
                </c:pt>
                <c:pt idx="168">
                  <c:v>40718</c:v>
                </c:pt>
                <c:pt idx="169">
                  <c:v>40721</c:v>
                </c:pt>
                <c:pt idx="170">
                  <c:v>40722</c:v>
                </c:pt>
                <c:pt idx="171">
                  <c:v>40723</c:v>
                </c:pt>
                <c:pt idx="172">
                  <c:v>40724</c:v>
                </c:pt>
                <c:pt idx="173">
                  <c:v>40725</c:v>
                </c:pt>
                <c:pt idx="174">
                  <c:v>40728</c:v>
                </c:pt>
                <c:pt idx="175">
                  <c:v>40729</c:v>
                </c:pt>
                <c:pt idx="176">
                  <c:v>40730</c:v>
                </c:pt>
                <c:pt idx="177">
                  <c:v>40731</c:v>
                </c:pt>
                <c:pt idx="178">
                  <c:v>40732</c:v>
                </c:pt>
                <c:pt idx="179">
                  <c:v>40735</c:v>
                </c:pt>
                <c:pt idx="180">
                  <c:v>40736</c:v>
                </c:pt>
                <c:pt idx="181">
                  <c:v>40737</c:v>
                </c:pt>
                <c:pt idx="182">
                  <c:v>40738</c:v>
                </c:pt>
                <c:pt idx="183">
                  <c:v>40739</c:v>
                </c:pt>
                <c:pt idx="184">
                  <c:v>40742</c:v>
                </c:pt>
                <c:pt idx="185">
                  <c:v>40743</c:v>
                </c:pt>
                <c:pt idx="186">
                  <c:v>40744</c:v>
                </c:pt>
                <c:pt idx="187">
                  <c:v>40745</c:v>
                </c:pt>
                <c:pt idx="188">
                  <c:v>40746</c:v>
                </c:pt>
                <c:pt idx="189">
                  <c:v>40749</c:v>
                </c:pt>
                <c:pt idx="190">
                  <c:v>40750</c:v>
                </c:pt>
                <c:pt idx="191">
                  <c:v>40751</c:v>
                </c:pt>
                <c:pt idx="192">
                  <c:v>40752</c:v>
                </c:pt>
                <c:pt idx="193">
                  <c:v>40753</c:v>
                </c:pt>
                <c:pt idx="194">
                  <c:v>40756</c:v>
                </c:pt>
                <c:pt idx="195">
                  <c:v>40757</c:v>
                </c:pt>
                <c:pt idx="196">
                  <c:v>40758</c:v>
                </c:pt>
                <c:pt idx="197">
                  <c:v>40759</c:v>
                </c:pt>
                <c:pt idx="198">
                  <c:v>40760</c:v>
                </c:pt>
                <c:pt idx="199">
                  <c:v>40763</c:v>
                </c:pt>
                <c:pt idx="200">
                  <c:v>40764</c:v>
                </c:pt>
                <c:pt idx="201">
                  <c:v>40765</c:v>
                </c:pt>
                <c:pt idx="202">
                  <c:v>40766</c:v>
                </c:pt>
                <c:pt idx="203">
                  <c:v>40767</c:v>
                </c:pt>
                <c:pt idx="204">
                  <c:v>40770</c:v>
                </c:pt>
                <c:pt idx="205">
                  <c:v>40771</c:v>
                </c:pt>
                <c:pt idx="206">
                  <c:v>40772</c:v>
                </c:pt>
                <c:pt idx="207">
                  <c:v>40773</c:v>
                </c:pt>
                <c:pt idx="208">
                  <c:v>40774</c:v>
                </c:pt>
                <c:pt idx="209">
                  <c:v>40777</c:v>
                </c:pt>
                <c:pt idx="210">
                  <c:v>40778</c:v>
                </c:pt>
                <c:pt idx="211">
                  <c:v>40779</c:v>
                </c:pt>
                <c:pt idx="212">
                  <c:v>40780</c:v>
                </c:pt>
                <c:pt idx="213">
                  <c:v>40781</c:v>
                </c:pt>
                <c:pt idx="214">
                  <c:v>40784</c:v>
                </c:pt>
                <c:pt idx="215">
                  <c:v>40785</c:v>
                </c:pt>
                <c:pt idx="216">
                  <c:v>40786</c:v>
                </c:pt>
                <c:pt idx="217">
                  <c:v>40787</c:v>
                </c:pt>
                <c:pt idx="218">
                  <c:v>40788</c:v>
                </c:pt>
                <c:pt idx="219">
                  <c:v>40791</c:v>
                </c:pt>
                <c:pt idx="220">
                  <c:v>40792</c:v>
                </c:pt>
                <c:pt idx="221">
                  <c:v>40793</c:v>
                </c:pt>
                <c:pt idx="222">
                  <c:v>40794</c:v>
                </c:pt>
                <c:pt idx="223">
                  <c:v>40795</c:v>
                </c:pt>
                <c:pt idx="224">
                  <c:v>40798</c:v>
                </c:pt>
                <c:pt idx="225">
                  <c:v>40799</c:v>
                </c:pt>
                <c:pt idx="226">
                  <c:v>40800</c:v>
                </c:pt>
                <c:pt idx="227">
                  <c:v>40801</c:v>
                </c:pt>
                <c:pt idx="228">
                  <c:v>40802</c:v>
                </c:pt>
                <c:pt idx="229">
                  <c:v>40805</c:v>
                </c:pt>
                <c:pt idx="230">
                  <c:v>40806</c:v>
                </c:pt>
                <c:pt idx="231">
                  <c:v>40807</c:v>
                </c:pt>
                <c:pt idx="232">
                  <c:v>40808</c:v>
                </c:pt>
                <c:pt idx="233">
                  <c:v>40809</c:v>
                </c:pt>
                <c:pt idx="234">
                  <c:v>40812</c:v>
                </c:pt>
                <c:pt idx="235">
                  <c:v>40813</c:v>
                </c:pt>
                <c:pt idx="236">
                  <c:v>40814</c:v>
                </c:pt>
                <c:pt idx="237">
                  <c:v>40815</c:v>
                </c:pt>
                <c:pt idx="238">
                  <c:v>40816</c:v>
                </c:pt>
                <c:pt idx="239">
                  <c:v>40819</c:v>
                </c:pt>
                <c:pt idx="240">
                  <c:v>40820</c:v>
                </c:pt>
                <c:pt idx="241">
                  <c:v>40821</c:v>
                </c:pt>
                <c:pt idx="242">
                  <c:v>40822</c:v>
                </c:pt>
                <c:pt idx="243">
                  <c:v>40823</c:v>
                </c:pt>
                <c:pt idx="244">
                  <c:v>40826</c:v>
                </c:pt>
                <c:pt idx="245">
                  <c:v>40827</c:v>
                </c:pt>
                <c:pt idx="246">
                  <c:v>40828</c:v>
                </c:pt>
                <c:pt idx="247">
                  <c:v>40829</c:v>
                </c:pt>
                <c:pt idx="248">
                  <c:v>40830</c:v>
                </c:pt>
                <c:pt idx="249">
                  <c:v>40833</c:v>
                </c:pt>
                <c:pt idx="250">
                  <c:v>40834</c:v>
                </c:pt>
                <c:pt idx="251">
                  <c:v>40835</c:v>
                </c:pt>
                <c:pt idx="252">
                  <c:v>40836</c:v>
                </c:pt>
                <c:pt idx="253">
                  <c:v>40837</c:v>
                </c:pt>
                <c:pt idx="254">
                  <c:v>40840</c:v>
                </c:pt>
                <c:pt idx="255">
                  <c:v>40841</c:v>
                </c:pt>
                <c:pt idx="256">
                  <c:v>40842</c:v>
                </c:pt>
                <c:pt idx="257">
                  <c:v>40843</c:v>
                </c:pt>
                <c:pt idx="258">
                  <c:v>40844</c:v>
                </c:pt>
                <c:pt idx="259">
                  <c:v>40847</c:v>
                </c:pt>
                <c:pt idx="260">
                  <c:v>40848</c:v>
                </c:pt>
                <c:pt idx="261">
                  <c:v>40849</c:v>
                </c:pt>
                <c:pt idx="262">
                  <c:v>40850</c:v>
                </c:pt>
                <c:pt idx="263">
                  <c:v>40851</c:v>
                </c:pt>
                <c:pt idx="264">
                  <c:v>40854</c:v>
                </c:pt>
                <c:pt idx="265">
                  <c:v>40855</c:v>
                </c:pt>
                <c:pt idx="266">
                  <c:v>40856</c:v>
                </c:pt>
                <c:pt idx="267">
                  <c:v>40857</c:v>
                </c:pt>
                <c:pt idx="268">
                  <c:v>40858</c:v>
                </c:pt>
                <c:pt idx="269">
                  <c:v>40861</c:v>
                </c:pt>
                <c:pt idx="270">
                  <c:v>40862</c:v>
                </c:pt>
                <c:pt idx="271">
                  <c:v>40863</c:v>
                </c:pt>
                <c:pt idx="272">
                  <c:v>40864</c:v>
                </c:pt>
                <c:pt idx="273">
                  <c:v>40865</c:v>
                </c:pt>
                <c:pt idx="274">
                  <c:v>40868</c:v>
                </c:pt>
                <c:pt idx="275">
                  <c:v>40869</c:v>
                </c:pt>
                <c:pt idx="276">
                  <c:v>40870</c:v>
                </c:pt>
                <c:pt idx="277">
                  <c:v>40871</c:v>
                </c:pt>
                <c:pt idx="278">
                  <c:v>40872</c:v>
                </c:pt>
                <c:pt idx="279">
                  <c:v>40875</c:v>
                </c:pt>
                <c:pt idx="280">
                  <c:v>40876</c:v>
                </c:pt>
                <c:pt idx="281">
                  <c:v>40877</c:v>
                </c:pt>
                <c:pt idx="282">
                  <c:v>40878</c:v>
                </c:pt>
                <c:pt idx="283">
                  <c:v>40879</c:v>
                </c:pt>
                <c:pt idx="284">
                  <c:v>40882</c:v>
                </c:pt>
                <c:pt idx="285">
                  <c:v>40883</c:v>
                </c:pt>
                <c:pt idx="286">
                  <c:v>40884</c:v>
                </c:pt>
                <c:pt idx="287">
                  <c:v>40885</c:v>
                </c:pt>
                <c:pt idx="288">
                  <c:v>40886</c:v>
                </c:pt>
                <c:pt idx="289">
                  <c:v>40889</c:v>
                </c:pt>
                <c:pt idx="290">
                  <c:v>40890</c:v>
                </c:pt>
                <c:pt idx="291">
                  <c:v>40891</c:v>
                </c:pt>
                <c:pt idx="292">
                  <c:v>40892</c:v>
                </c:pt>
                <c:pt idx="293">
                  <c:v>40893</c:v>
                </c:pt>
                <c:pt idx="294">
                  <c:v>40896</c:v>
                </c:pt>
                <c:pt idx="295">
                  <c:v>40897</c:v>
                </c:pt>
                <c:pt idx="296">
                  <c:v>40898</c:v>
                </c:pt>
                <c:pt idx="297">
                  <c:v>40899</c:v>
                </c:pt>
                <c:pt idx="298">
                  <c:v>40900</c:v>
                </c:pt>
                <c:pt idx="299">
                  <c:v>40904</c:v>
                </c:pt>
                <c:pt idx="300">
                  <c:v>40905</c:v>
                </c:pt>
                <c:pt idx="301">
                  <c:v>40906</c:v>
                </c:pt>
                <c:pt idx="302">
                  <c:v>40907</c:v>
                </c:pt>
                <c:pt idx="303">
                  <c:v>40910</c:v>
                </c:pt>
                <c:pt idx="304">
                  <c:v>40911</c:v>
                </c:pt>
                <c:pt idx="305">
                  <c:v>40912</c:v>
                </c:pt>
                <c:pt idx="306">
                  <c:v>40913</c:v>
                </c:pt>
                <c:pt idx="307">
                  <c:v>40914</c:v>
                </c:pt>
                <c:pt idx="308">
                  <c:v>40917</c:v>
                </c:pt>
                <c:pt idx="309">
                  <c:v>40918</c:v>
                </c:pt>
                <c:pt idx="310">
                  <c:v>40919</c:v>
                </c:pt>
                <c:pt idx="311">
                  <c:v>40920</c:v>
                </c:pt>
                <c:pt idx="312">
                  <c:v>40921</c:v>
                </c:pt>
                <c:pt idx="313">
                  <c:v>40924</c:v>
                </c:pt>
                <c:pt idx="314">
                  <c:v>40925</c:v>
                </c:pt>
                <c:pt idx="315">
                  <c:v>40926</c:v>
                </c:pt>
                <c:pt idx="316">
                  <c:v>40927</c:v>
                </c:pt>
                <c:pt idx="317">
                  <c:v>40928</c:v>
                </c:pt>
                <c:pt idx="318">
                  <c:v>40931</c:v>
                </c:pt>
                <c:pt idx="319">
                  <c:v>40932</c:v>
                </c:pt>
                <c:pt idx="320">
                  <c:v>40933</c:v>
                </c:pt>
                <c:pt idx="321">
                  <c:v>40934</c:v>
                </c:pt>
                <c:pt idx="322">
                  <c:v>40935</c:v>
                </c:pt>
                <c:pt idx="323">
                  <c:v>40938</c:v>
                </c:pt>
                <c:pt idx="324">
                  <c:v>40939</c:v>
                </c:pt>
                <c:pt idx="325">
                  <c:v>40940</c:v>
                </c:pt>
                <c:pt idx="326">
                  <c:v>40941</c:v>
                </c:pt>
                <c:pt idx="327">
                  <c:v>40942</c:v>
                </c:pt>
                <c:pt idx="328">
                  <c:v>40945</c:v>
                </c:pt>
                <c:pt idx="329">
                  <c:v>40946</c:v>
                </c:pt>
                <c:pt idx="330">
                  <c:v>40947</c:v>
                </c:pt>
                <c:pt idx="331">
                  <c:v>40948</c:v>
                </c:pt>
                <c:pt idx="332">
                  <c:v>40949</c:v>
                </c:pt>
                <c:pt idx="333">
                  <c:v>40952</c:v>
                </c:pt>
                <c:pt idx="334">
                  <c:v>40953</c:v>
                </c:pt>
                <c:pt idx="335">
                  <c:v>40954</c:v>
                </c:pt>
                <c:pt idx="336">
                  <c:v>40955</c:v>
                </c:pt>
                <c:pt idx="337">
                  <c:v>40956</c:v>
                </c:pt>
                <c:pt idx="338">
                  <c:v>40959</c:v>
                </c:pt>
                <c:pt idx="339">
                  <c:v>40960</c:v>
                </c:pt>
                <c:pt idx="340">
                  <c:v>40961</c:v>
                </c:pt>
                <c:pt idx="341">
                  <c:v>40962</c:v>
                </c:pt>
                <c:pt idx="342">
                  <c:v>40963</c:v>
                </c:pt>
                <c:pt idx="343">
                  <c:v>40966</c:v>
                </c:pt>
                <c:pt idx="344">
                  <c:v>40967</c:v>
                </c:pt>
                <c:pt idx="345">
                  <c:v>40968</c:v>
                </c:pt>
                <c:pt idx="346">
                  <c:v>40969</c:v>
                </c:pt>
                <c:pt idx="347">
                  <c:v>40970</c:v>
                </c:pt>
                <c:pt idx="348">
                  <c:v>40973</c:v>
                </c:pt>
                <c:pt idx="349">
                  <c:v>40974</c:v>
                </c:pt>
                <c:pt idx="350">
                  <c:v>40975</c:v>
                </c:pt>
                <c:pt idx="351">
                  <c:v>40976</c:v>
                </c:pt>
                <c:pt idx="352">
                  <c:v>40977</c:v>
                </c:pt>
                <c:pt idx="353">
                  <c:v>40980</c:v>
                </c:pt>
                <c:pt idx="354">
                  <c:v>40981</c:v>
                </c:pt>
                <c:pt idx="355">
                  <c:v>40982</c:v>
                </c:pt>
                <c:pt idx="356">
                  <c:v>40983</c:v>
                </c:pt>
                <c:pt idx="357">
                  <c:v>40984</c:v>
                </c:pt>
                <c:pt idx="358">
                  <c:v>40987</c:v>
                </c:pt>
                <c:pt idx="359">
                  <c:v>40988</c:v>
                </c:pt>
                <c:pt idx="360">
                  <c:v>40989</c:v>
                </c:pt>
                <c:pt idx="361">
                  <c:v>40990</c:v>
                </c:pt>
                <c:pt idx="362">
                  <c:v>40991</c:v>
                </c:pt>
                <c:pt idx="363">
                  <c:v>40994</c:v>
                </c:pt>
                <c:pt idx="364">
                  <c:v>40995</c:v>
                </c:pt>
                <c:pt idx="365">
                  <c:v>40996</c:v>
                </c:pt>
                <c:pt idx="366">
                  <c:v>40997</c:v>
                </c:pt>
                <c:pt idx="367">
                  <c:v>40998</c:v>
                </c:pt>
                <c:pt idx="368">
                  <c:v>41001</c:v>
                </c:pt>
                <c:pt idx="369">
                  <c:v>41002</c:v>
                </c:pt>
                <c:pt idx="370">
                  <c:v>41003</c:v>
                </c:pt>
                <c:pt idx="371">
                  <c:v>41004</c:v>
                </c:pt>
                <c:pt idx="372">
                  <c:v>41009</c:v>
                </c:pt>
                <c:pt idx="373">
                  <c:v>41010</c:v>
                </c:pt>
                <c:pt idx="374">
                  <c:v>41011</c:v>
                </c:pt>
                <c:pt idx="375">
                  <c:v>41012</c:v>
                </c:pt>
                <c:pt idx="376">
                  <c:v>41015</c:v>
                </c:pt>
                <c:pt idx="377">
                  <c:v>41016</c:v>
                </c:pt>
                <c:pt idx="378">
                  <c:v>41017</c:v>
                </c:pt>
                <c:pt idx="379">
                  <c:v>41018</c:v>
                </c:pt>
                <c:pt idx="380">
                  <c:v>41019</c:v>
                </c:pt>
                <c:pt idx="381">
                  <c:v>41022</c:v>
                </c:pt>
                <c:pt idx="382">
                  <c:v>41023</c:v>
                </c:pt>
                <c:pt idx="383">
                  <c:v>41024</c:v>
                </c:pt>
                <c:pt idx="384">
                  <c:v>41025</c:v>
                </c:pt>
                <c:pt idx="385">
                  <c:v>41026</c:v>
                </c:pt>
                <c:pt idx="386">
                  <c:v>41029</c:v>
                </c:pt>
                <c:pt idx="387">
                  <c:v>41030</c:v>
                </c:pt>
                <c:pt idx="388">
                  <c:v>41031</c:v>
                </c:pt>
                <c:pt idx="389">
                  <c:v>41032</c:v>
                </c:pt>
                <c:pt idx="390">
                  <c:v>41033</c:v>
                </c:pt>
                <c:pt idx="391">
                  <c:v>41036</c:v>
                </c:pt>
                <c:pt idx="392">
                  <c:v>41037</c:v>
                </c:pt>
                <c:pt idx="393">
                  <c:v>41038</c:v>
                </c:pt>
                <c:pt idx="394">
                  <c:v>41039</c:v>
                </c:pt>
                <c:pt idx="395">
                  <c:v>41040</c:v>
                </c:pt>
                <c:pt idx="396">
                  <c:v>41043</c:v>
                </c:pt>
                <c:pt idx="397">
                  <c:v>41044</c:v>
                </c:pt>
                <c:pt idx="398">
                  <c:v>41045</c:v>
                </c:pt>
                <c:pt idx="399">
                  <c:v>41046</c:v>
                </c:pt>
                <c:pt idx="400">
                  <c:v>41047</c:v>
                </c:pt>
                <c:pt idx="401">
                  <c:v>41050</c:v>
                </c:pt>
                <c:pt idx="402">
                  <c:v>41051</c:v>
                </c:pt>
                <c:pt idx="403">
                  <c:v>41052</c:v>
                </c:pt>
                <c:pt idx="404">
                  <c:v>41053</c:v>
                </c:pt>
                <c:pt idx="405">
                  <c:v>41054</c:v>
                </c:pt>
                <c:pt idx="406">
                  <c:v>41057</c:v>
                </c:pt>
                <c:pt idx="407">
                  <c:v>41058</c:v>
                </c:pt>
                <c:pt idx="408">
                  <c:v>41059</c:v>
                </c:pt>
                <c:pt idx="409">
                  <c:v>41060</c:v>
                </c:pt>
                <c:pt idx="410">
                  <c:v>41061</c:v>
                </c:pt>
                <c:pt idx="411">
                  <c:v>41064</c:v>
                </c:pt>
                <c:pt idx="412">
                  <c:v>41065</c:v>
                </c:pt>
                <c:pt idx="413">
                  <c:v>41066</c:v>
                </c:pt>
                <c:pt idx="414">
                  <c:v>41067</c:v>
                </c:pt>
                <c:pt idx="415">
                  <c:v>41068</c:v>
                </c:pt>
                <c:pt idx="416">
                  <c:v>41071</c:v>
                </c:pt>
                <c:pt idx="417">
                  <c:v>41072</c:v>
                </c:pt>
                <c:pt idx="418">
                  <c:v>41073</c:v>
                </c:pt>
                <c:pt idx="419">
                  <c:v>41074</c:v>
                </c:pt>
                <c:pt idx="420">
                  <c:v>41075</c:v>
                </c:pt>
                <c:pt idx="421">
                  <c:v>41078</c:v>
                </c:pt>
                <c:pt idx="422">
                  <c:v>41079</c:v>
                </c:pt>
                <c:pt idx="423">
                  <c:v>41080</c:v>
                </c:pt>
                <c:pt idx="424">
                  <c:v>41081</c:v>
                </c:pt>
                <c:pt idx="425">
                  <c:v>41082</c:v>
                </c:pt>
                <c:pt idx="426">
                  <c:v>41085</c:v>
                </c:pt>
                <c:pt idx="427">
                  <c:v>41086</c:v>
                </c:pt>
                <c:pt idx="428">
                  <c:v>41087</c:v>
                </c:pt>
                <c:pt idx="429">
                  <c:v>41088</c:v>
                </c:pt>
                <c:pt idx="430">
                  <c:v>41089</c:v>
                </c:pt>
                <c:pt idx="431">
                  <c:v>41092</c:v>
                </c:pt>
                <c:pt idx="432">
                  <c:v>41093</c:v>
                </c:pt>
                <c:pt idx="433">
                  <c:v>41094</c:v>
                </c:pt>
                <c:pt idx="434">
                  <c:v>41095</c:v>
                </c:pt>
                <c:pt idx="435">
                  <c:v>41096</c:v>
                </c:pt>
                <c:pt idx="436">
                  <c:v>41099</c:v>
                </c:pt>
                <c:pt idx="437">
                  <c:v>41100</c:v>
                </c:pt>
                <c:pt idx="438">
                  <c:v>41101</c:v>
                </c:pt>
                <c:pt idx="439">
                  <c:v>41102</c:v>
                </c:pt>
                <c:pt idx="440">
                  <c:v>41103</c:v>
                </c:pt>
                <c:pt idx="441">
                  <c:v>41106</c:v>
                </c:pt>
                <c:pt idx="442">
                  <c:v>41107</c:v>
                </c:pt>
                <c:pt idx="443">
                  <c:v>41108</c:v>
                </c:pt>
                <c:pt idx="444">
                  <c:v>41109</c:v>
                </c:pt>
                <c:pt idx="445">
                  <c:v>41110</c:v>
                </c:pt>
                <c:pt idx="446">
                  <c:v>41113</c:v>
                </c:pt>
                <c:pt idx="447">
                  <c:v>41114</c:v>
                </c:pt>
                <c:pt idx="448">
                  <c:v>41115</c:v>
                </c:pt>
                <c:pt idx="449">
                  <c:v>41116</c:v>
                </c:pt>
                <c:pt idx="450">
                  <c:v>41117</c:v>
                </c:pt>
                <c:pt idx="451">
                  <c:v>41120</c:v>
                </c:pt>
                <c:pt idx="452">
                  <c:v>41121</c:v>
                </c:pt>
                <c:pt idx="453">
                  <c:v>41122</c:v>
                </c:pt>
                <c:pt idx="454">
                  <c:v>41123</c:v>
                </c:pt>
                <c:pt idx="455">
                  <c:v>41124</c:v>
                </c:pt>
                <c:pt idx="456">
                  <c:v>41127</c:v>
                </c:pt>
                <c:pt idx="457">
                  <c:v>41128</c:v>
                </c:pt>
                <c:pt idx="458">
                  <c:v>41129</c:v>
                </c:pt>
                <c:pt idx="459">
                  <c:v>41130</c:v>
                </c:pt>
                <c:pt idx="460">
                  <c:v>41131</c:v>
                </c:pt>
                <c:pt idx="461">
                  <c:v>41134</c:v>
                </c:pt>
                <c:pt idx="462">
                  <c:v>41135</c:v>
                </c:pt>
                <c:pt idx="463">
                  <c:v>41136</c:v>
                </c:pt>
                <c:pt idx="464">
                  <c:v>41137</c:v>
                </c:pt>
                <c:pt idx="465">
                  <c:v>41138</c:v>
                </c:pt>
                <c:pt idx="466">
                  <c:v>41141</c:v>
                </c:pt>
                <c:pt idx="467">
                  <c:v>41142</c:v>
                </c:pt>
                <c:pt idx="468">
                  <c:v>41143</c:v>
                </c:pt>
                <c:pt idx="469">
                  <c:v>41144</c:v>
                </c:pt>
                <c:pt idx="470">
                  <c:v>41145</c:v>
                </c:pt>
                <c:pt idx="471">
                  <c:v>41148</c:v>
                </c:pt>
                <c:pt idx="472">
                  <c:v>41149</c:v>
                </c:pt>
                <c:pt idx="473">
                  <c:v>41150</c:v>
                </c:pt>
                <c:pt idx="474">
                  <c:v>41151</c:v>
                </c:pt>
                <c:pt idx="475">
                  <c:v>41152</c:v>
                </c:pt>
                <c:pt idx="476">
                  <c:v>41155</c:v>
                </c:pt>
                <c:pt idx="477">
                  <c:v>41156</c:v>
                </c:pt>
                <c:pt idx="478">
                  <c:v>41157</c:v>
                </c:pt>
                <c:pt idx="479">
                  <c:v>41158</c:v>
                </c:pt>
                <c:pt idx="480">
                  <c:v>41159</c:v>
                </c:pt>
                <c:pt idx="481">
                  <c:v>41162</c:v>
                </c:pt>
                <c:pt idx="482">
                  <c:v>41163</c:v>
                </c:pt>
                <c:pt idx="483">
                  <c:v>41164</c:v>
                </c:pt>
                <c:pt idx="484">
                  <c:v>41165</c:v>
                </c:pt>
                <c:pt idx="485">
                  <c:v>41166</c:v>
                </c:pt>
                <c:pt idx="486">
                  <c:v>41169</c:v>
                </c:pt>
                <c:pt idx="487">
                  <c:v>41170</c:v>
                </c:pt>
                <c:pt idx="488">
                  <c:v>41171</c:v>
                </c:pt>
                <c:pt idx="489">
                  <c:v>41172</c:v>
                </c:pt>
                <c:pt idx="490">
                  <c:v>41173</c:v>
                </c:pt>
                <c:pt idx="491">
                  <c:v>41176</c:v>
                </c:pt>
                <c:pt idx="492">
                  <c:v>41177</c:v>
                </c:pt>
                <c:pt idx="493">
                  <c:v>41178</c:v>
                </c:pt>
                <c:pt idx="494">
                  <c:v>41179</c:v>
                </c:pt>
                <c:pt idx="495">
                  <c:v>41180</c:v>
                </c:pt>
                <c:pt idx="496">
                  <c:v>41183</c:v>
                </c:pt>
                <c:pt idx="497">
                  <c:v>41184</c:v>
                </c:pt>
                <c:pt idx="498">
                  <c:v>41185</c:v>
                </c:pt>
                <c:pt idx="499">
                  <c:v>41186</c:v>
                </c:pt>
                <c:pt idx="500">
                  <c:v>41187</c:v>
                </c:pt>
                <c:pt idx="501">
                  <c:v>41190</c:v>
                </c:pt>
                <c:pt idx="502">
                  <c:v>41191</c:v>
                </c:pt>
                <c:pt idx="503">
                  <c:v>41192</c:v>
                </c:pt>
                <c:pt idx="504">
                  <c:v>41193</c:v>
                </c:pt>
                <c:pt idx="505">
                  <c:v>41194</c:v>
                </c:pt>
                <c:pt idx="506">
                  <c:v>41197</c:v>
                </c:pt>
                <c:pt idx="507">
                  <c:v>41198</c:v>
                </c:pt>
                <c:pt idx="508">
                  <c:v>41199</c:v>
                </c:pt>
                <c:pt idx="509">
                  <c:v>41200</c:v>
                </c:pt>
                <c:pt idx="510">
                  <c:v>41201</c:v>
                </c:pt>
                <c:pt idx="511">
                  <c:v>41204</c:v>
                </c:pt>
                <c:pt idx="512">
                  <c:v>41205</c:v>
                </c:pt>
                <c:pt idx="513">
                  <c:v>41206</c:v>
                </c:pt>
                <c:pt idx="514">
                  <c:v>41207</c:v>
                </c:pt>
                <c:pt idx="515">
                  <c:v>41208</c:v>
                </c:pt>
                <c:pt idx="516">
                  <c:v>41211</c:v>
                </c:pt>
                <c:pt idx="517">
                  <c:v>41212</c:v>
                </c:pt>
                <c:pt idx="518">
                  <c:v>41213</c:v>
                </c:pt>
                <c:pt idx="519">
                  <c:v>41214</c:v>
                </c:pt>
                <c:pt idx="520">
                  <c:v>41215</c:v>
                </c:pt>
                <c:pt idx="521">
                  <c:v>41218</c:v>
                </c:pt>
                <c:pt idx="522">
                  <c:v>41219</c:v>
                </c:pt>
                <c:pt idx="523">
                  <c:v>41220</c:v>
                </c:pt>
                <c:pt idx="524">
                  <c:v>41221</c:v>
                </c:pt>
                <c:pt idx="525">
                  <c:v>41222</c:v>
                </c:pt>
                <c:pt idx="526">
                  <c:v>41225</c:v>
                </c:pt>
                <c:pt idx="527">
                  <c:v>41226</c:v>
                </c:pt>
                <c:pt idx="528">
                  <c:v>41227</c:v>
                </c:pt>
                <c:pt idx="529">
                  <c:v>41228</c:v>
                </c:pt>
                <c:pt idx="530">
                  <c:v>41229</c:v>
                </c:pt>
                <c:pt idx="531">
                  <c:v>41232</c:v>
                </c:pt>
                <c:pt idx="532">
                  <c:v>41233</c:v>
                </c:pt>
                <c:pt idx="533">
                  <c:v>41234</c:v>
                </c:pt>
                <c:pt idx="534">
                  <c:v>41235</c:v>
                </c:pt>
                <c:pt idx="535">
                  <c:v>41236</c:v>
                </c:pt>
                <c:pt idx="536">
                  <c:v>41239</c:v>
                </c:pt>
                <c:pt idx="537">
                  <c:v>41240</c:v>
                </c:pt>
                <c:pt idx="538">
                  <c:v>41241</c:v>
                </c:pt>
                <c:pt idx="539">
                  <c:v>41242</c:v>
                </c:pt>
                <c:pt idx="540">
                  <c:v>41243</c:v>
                </c:pt>
                <c:pt idx="541">
                  <c:v>41246</c:v>
                </c:pt>
                <c:pt idx="542">
                  <c:v>41247</c:v>
                </c:pt>
                <c:pt idx="543">
                  <c:v>41248</c:v>
                </c:pt>
                <c:pt idx="544">
                  <c:v>41249</c:v>
                </c:pt>
                <c:pt idx="545">
                  <c:v>41250</c:v>
                </c:pt>
                <c:pt idx="546">
                  <c:v>41253</c:v>
                </c:pt>
                <c:pt idx="547">
                  <c:v>41254</c:v>
                </c:pt>
                <c:pt idx="548">
                  <c:v>41255</c:v>
                </c:pt>
                <c:pt idx="549">
                  <c:v>41256</c:v>
                </c:pt>
                <c:pt idx="550">
                  <c:v>41257</c:v>
                </c:pt>
                <c:pt idx="551">
                  <c:v>41260</c:v>
                </c:pt>
                <c:pt idx="552">
                  <c:v>41261</c:v>
                </c:pt>
                <c:pt idx="553">
                  <c:v>41262</c:v>
                </c:pt>
                <c:pt idx="554">
                  <c:v>41263</c:v>
                </c:pt>
                <c:pt idx="555">
                  <c:v>41264</c:v>
                </c:pt>
                <c:pt idx="556">
                  <c:v>41267</c:v>
                </c:pt>
                <c:pt idx="557">
                  <c:v>41270</c:v>
                </c:pt>
                <c:pt idx="558">
                  <c:v>41271</c:v>
                </c:pt>
                <c:pt idx="559">
                  <c:v>41274</c:v>
                </c:pt>
                <c:pt idx="560">
                  <c:v>41276</c:v>
                </c:pt>
                <c:pt idx="561">
                  <c:v>41277</c:v>
                </c:pt>
                <c:pt idx="562">
                  <c:v>41278</c:v>
                </c:pt>
                <c:pt idx="563">
                  <c:v>41281</c:v>
                </c:pt>
                <c:pt idx="564">
                  <c:v>41282</c:v>
                </c:pt>
                <c:pt idx="565">
                  <c:v>41283</c:v>
                </c:pt>
                <c:pt idx="566">
                  <c:v>41284</c:v>
                </c:pt>
                <c:pt idx="567">
                  <c:v>41285</c:v>
                </c:pt>
                <c:pt idx="568">
                  <c:v>41288</c:v>
                </c:pt>
                <c:pt idx="569">
                  <c:v>41289</c:v>
                </c:pt>
                <c:pt idx="570">
                  <c:v>41290</c:v>
                </c:pt>
                <c:pt idx="571">
                  <c:v>41291</c:v>
                </c:pt>
                <c:pt idx="572">
                  <c:v>41292</c:v>
                </c:pt>
                <c:pt idx="573">
                  <c:v>41295</c:v>
                </c:pt>
                <c:pt idx="574">
                  <c:v>41296</c:v>
                </c:pt>
                <c:pt idx="575">
                  <c:v>41297</c:v>
                </c:pt>
                <c:pt idx="576">
                  <c:v>41298</c:v>
                </c:pt>
                <c:pt idx="577">
                  <c:v>41299</c:v>
                </c:pt>
                <c:pt idx="578">
                  <c:v>41302</c:v>
                </c:pt>
                <c:pt idx="579">
                  <c:v>41303</c:v>
                </c:pt>
                <c:pt idx="580">
                  <c:v>41304</c:v>
                </c:pt>
                <c:pt idx="581">
                  <c:v>41305</c:v>
                </c:pt>
                <c:pt idx="582">
                  <c:v>41306</c:v>
                </c:pt>
                <c:pt idx="583">
                  <c:v>41309</c:v>
                </c:pt>
                <c:pt idx="584">
                  <c:v>41310</c:v>
                </c:pt>
                <c:pt idx="585">
                  <c:v>41311</c:v>
                </c:pt>
                <c:pt idx="586">
                  <c:v>41312</c:v>
                </c:pt>
                <c:pt idx="587">
                  <c:v>41313</c:v>
                </c:pt>
                <c:pt idx="588">
                  <c:v>41316</c:v>
                </c:pt>
                <c:pt idx="589">
                  <c:v>41317</c:v>
                </c:pt>
                <c:pt idx="590">
                  <c:v>41318</c:v>
                </c:pt>
                <c:pt idx="591">
                  <c:v>41319</c:v>
                </c:pt>
                <c:pt idx="592">
                  <c:v>41320</c:v>
                </c:pt>
                <c:pt idx="593">
                  <c:v>41323</c:v>
                </c:pt>
                <c:pt idx="594">
                  <c:v>41324</c:v>
                </c:pt>
                <c:pt idx="595">
                  <c:v>41325</c:v>
                </c:pt>
                <c:pt idx="596">
                  <c:v>41326</c:v>
                </c:pt>
                <c:pt idx="597">
                  <c:v>41327</c:v>
                </c:pt>
                <c:pt idx="598">
                  <c:v>41330</c:v>
                </c:pt>
                <c:pt idx="599">
                  <c:v>41331</c:v>
                </c:pt>
                <c:pt idx="600">
                  <c:v>41332</c:v>
                </c:pt>
                <c:pt idx="601">
                  <c:v>41333</c:v>
                </c:pt>
                <c:pt idx="602">
                  <c:v>41334</c:v>
                </c:pt>
                <c:pt idx="603">
                  <c:v>41337</c:v>
                </c:pt>
                <c:pt idx="604">
                  <c:v>41338</c:v>
                </c:pt>
                <c:pt idx="605">
                  <c:v>41339</c:v>
                </c:pt>
                <c:pt idx="606">
                  <c:v>41340</c:v>
                </c:pt>
                <c:pt idx="607">
                  <c:v>41341</c:v>
                </c:pt>
                <c:pt idx="608">
                  <c:v>41344</c:v>
                </c:pt>
                <c:pt idx="609">
                  <c:v>41345</c:v>
                </c:pt>
                <c:pt idx="610">
                  <c:v>41346</c:v>
                </c:pt>
                <c:pt idx="611">
                  <c:v>41347</c:v>
                </c:pt>
                <c:pt idx="612">
                  <c:v>41348</c:v>
                </c:pt>
                <c:pt idx="613">
                  <c:v>41351</c:v>
                </c:pt>
                <c:pt idx="614">
                  <c:v>41352</c:v>
                </c:pt>
                <c:pt idx="615">
                  <c:v>41353</c:v>
                </c:pt>
                <c:pt idx="616">
                  <c:v>41354</c:v>
                </c:pt>
                <c:pt idx="617">
                  <c:v>41355</c:v>
                </c:pt>
                <c:pt idx="618">
                  <c:v>41358</c:v>
                </c:pt>
                <c:pt idx="619">
                  <c:v>41359</c:v>
                </c:pt>
                <c:pt idx="620">
                  <c:v>41360</c:v>
                </c:pt>
                <c:pt idx="621">
                  <c:v>41361</c:v>
                </c:pt>
                <c:pt idx="622">
                  <c:v>41366</c:v>
                </c:pt>
                <c:pt idx="623">
                  <c:v>41367</c:v>
                </c:pt>
                <c:pt idx="624">
                  <c:v>41368</c:v>
                </c:pt>
                <c:pt idx="625">
                  <c:v>41369</c:v>
                </c:pt>
                <c:pt idx="626">
                  <c:v>41372</c:v>
                </c:pt>
                <c:pt idx="627">
                  <c:v>41373</c:v>
                </c:pt>
                <c:pt idx="628">
                  <c:v>41374</c:v>
                </c:pt>
                <c:pt idx="629">
                  <c:v>41375</c:v>
                </c:pt>
                <c:pt idx="630">
                  <c:v>41376</c:v>
                </c:pt>
                <c:pt idx="631">
                  <c:v>41379</c:v>
                </c:pt>
                <c:pt idx="632">
                  <c:v>41380</c:v>
                </c:pt>
                <c:pt idx="633">
                  <c:v>41381</c:v>
                </c:pt>
                <c:pt idx="634">
                  <c:v>41382</c:v>
                </c:pt>
                <c:pt idx="635">
                  <c:v>41383</c:v>
                </c:pt>
                <c:pt idx="636">
                  <c:v>41386</c:v>
                </c:pt>
                <c:pt idx="637">
                  <c:v>41387</c:v>
                </c:pt>
                <c:pt idx="638">
                  <c:v>41388</c:v>
                </c:pt>
                <c:pt idx="639">
                  <c:v>41389</c:v>
                </c:pt>
                <c:pt idx="640">
                  <c:v>41390</c:v>
                </c:pt>
                <c:pt idx="641">
                  <c:v>41393</c:v>
                </c:pt>
                <c:pt idx="642">
                  <c:v>41394</c:v>
                </c:pt>
                <c:pt idx="643">
                  <c:v>41395</c:v>
                </c:pt>
                <c:pt idx="644">
                  <c:v>41396</c:v>
                </c:pt>
                <c:pt idx="645">
                  <c:v>41397</c:v>
                </c:pt>
                <c:pt idx="646">
                  <c:v>41400</c:v>
                </c:pt>
                <c:pt idx="647">
                  <c:v>41401</c:v>
                </c:pt>
                <c:pt idx="648">
                  <c:v>41402</c:v>
                </c:pt>
                <c:pt idx="649">
                  <c:v>41403</c:v>
                </c:pt>
                <c:pt idx="650">
                  <c:v>41404</c:v>
                </c:pt>
                <c:pt idx="651">
                  <c:v>41407</c:v>
                </c:pt>
                <c:pt idx="652">
                  <c:v>41408</c:v>
                </c:pt>
                <c:pt idx="653">
                  <c:v>41409</c:v>
                </c:pt>
                <c:pt idx="654">
                  <c:v>41410</c:v>
                </c:pt>
                <c:pt idx="655">
                  <c:v>41411</c:v>
                </c:pt>
                <c:pt idx="656">
                  <c:v>41414</c:v>
                </c:pt>
                <c:pt idx="657">
                  <c:v>41415</c:v>
                </c:pt>
                <c:pt idx="658">
                  <c:v>41416</c:v>
                </c:pt>
                <c:pt idx="659">
                  <c:v>41417</c:v>
                </c:pt>
                <c:pt idx="660">
                  <c:v>41418</c:v>
                </c:pt>
                <c:pt idx="661">
                  <c:v>41421</c:v>
                </c:pt>
                <c:pt idx="662">
                  <c:v>41422</c:v>
                </c:pt>
                <c:pt idx="663">
                  <c:v>41423</c:v>
                </c:pt>
                <c:pt idx="664">
                  <c:v>41424</c:v>
                </c:pt>
                <c:pt idx="665">
                  <c:v>41425</c:v>
                </c:pt>
                <c:pt idx="666">
                  <c:v>41428</c:v>
                </c:pt>
                <c:pt idx="667">
                  <c:v>41429</c:v>
                </c:pt>
                <c:pt idx="668">
                  <c:v>41430</c:v>
                </c:pt>
                <c:pt idx="669">
                  <c:v>41431</c:v>
                </c:pt>
                <c:pt idx="670">
                  <c:v>41432</c:v>
                </c:pt>
                <c:pt idx="671">
                  <c:v>41435</c:v>
                </c:pt>
                <c:pt idx="672">
                  <c:v>41436</c:v>
                </c:pt>
                <c:pt idx="673">
                  <c:v>41437</c:v>
                </c:pt>
                <c:pt idx="674">
                  <c:v>41438</c:v>
                </c:pt>
                <c:pt idx="675">
                  <c:v>41439</c:v>
                </c:pt>
                <c:pt idx="676">
                  <c:v>41442</c:v>
                </c:pt>
                <c:pt idx="677">
                  <c:v>41443</c:v>
                </c:pt>
                <c:pt idx="678">
                  <c:v>41444</c:v>
                </c:pt>
                <c:pt idx="679">
                  <c:v>41445</c:v>
                </c:pt>
                <c:pt idx="680">
                  <c:v>41446</c:v>
                </c:pt>
                <c:pt idx="681">
                  <c:v>41449</c:v>
                </c:pt>
                <c:pt idx="682">
                  <c:v>41450</c:v>
                </c:pt>
                <c:pt idx="683">
                  <c:v>41451</c:v>
                </c:pt>
                <c:pt idx="684">
                  <c:v>41452</c:v>
                </c:pt>
                <c:pt idx="685">
                  <c:v>41453</c:v>
                </c:pt>
                <c:pt idx="686">
                  <c:v>41456</c:v>
                </c:pt>
                <c:pt idx="687">
                  <c:v>41457</c:v>
                </c:pt>
                <c:pt idx="688">
                  <c:v>41458</c:v>
                </c:pt>
                <c:pt idx="689">
                  <c:v>41459</c:v>
                </c:pt>
                <c:pt idx="690">
                  <c:v>41460</c:v>
                </c:pt>
                <c:pt idx="691">
                  <c:v>41463</c:v>
                </c:pt>
                <c:pt idx="692">
                  <c:v>41464</c:v>
                </c:pt>
                <c:pt idx="693">
                  <c:v>41465</c:v>
                </c:pt>
                <c:pt idx="694">
                  <c:v>41466</c:v>
                </c:pt>
                <c:pt idx="695">
                  <c:v>41467</c:v>
                </c:pt>
                <c:pt idx="696">
                  <c:v>41470</c:v>
                </c:pt>
                <c:pt idx="697">
                  <c:v>41471</c:v>
                </c:pt>
                <c:pt idx="698">
                  <c:v>41472</c:v>
                </c:pt>
                <c:pt idx="699">
                  <c:v>41473</c:v>
                </c:pt>
                <c:pt idx="700">
                  <c:v>41474</c:v>
                </c:pt>
                <c:pt idx="701">
                  <c:v>41477</c:v>
                </c:pt>
                <c:pt idx="702">
                  <c:v>41478</c:v>
                </c:pt>
                <c:pt idx="703">
                  <c:v>41479</c:v>
                </c:pt>
                <c:pt idx="704">
                  <c:v>41480</c:v>
                </c:pt>
                <c:pt idx="705">
                  <c:v>41481</c:v>
                </c:pt>
                <c:pt idx="706">
                  <c:v>41484</c:v>
                </c:pt>
                <c:pt idx="707">
                  <c:v>41485</c:v>
                </c:pt>
                <c:pt idx="708">
                  <c:v>41486</c:v>
                </c:pt>
                <c:pt idx="709">
                  <c:v>41487</c:v>
                </c:pt>
                <c:pt idx="710">
                  <c:v>41488</c:v>
                </c:pt>
                <c:pt idx="711">
                  <c:v>41491</c:v>
                </c:pt>
                <c:pt idx="712">
                  <c:v>41492</c:v>
                </c:pt>
                <c:pt idx="713">
                  <c:v>41493</c:v>
                </c:pt>
                <c:pt idx="714">
                  <c:v>41494</c:v>
                </c:pt>
                <c:pt idx="715">
                  <c:v>41495</c:v>
                </c:pt>
                <c:pt idx="716">
                  <c:v>41498</c:v>
                </c:pt>
                <c:pt idx="717">
                  <c:v>41499</c:v>
                </c:pt>
                <c:pt idx="718">
                  <c:v>41500</c:v>
                </c:pt>
                <c:pt idx="719">
                  <c:v>41501</c:v>
                </c:pt>
                <c:pt idx="720">
                  <c:v>41502</c:v>
                </c:pt>
                <c:pt idx="721">
                  <c:v>41505</c:v>
                </c:pt>
                <c:pt idx="722">
                  <c:v>41506</c:v>
                </c:pt>
                <c:pt idx="723">
                  <c:v>41507</c:v>
                </c:pt>
                <c:pt idx="724">
                  <c:v>41508</c:v>
                </c:pt>
                <c:pt idx="725">
                  <c:v>41509</c:v>
                </c:pt>
                <c:pt idx="726">
                  <c:v>41512</c:v>
                </c:pt>
                <c:pt idx="727">
                  <c:v>41513</c:v>
                </c:pt>
                <c:pt idx="728">
                  <c:v>41514</c:v>
                </c:pt>
                <c:pt idx="729">
                  <c:v>41515</c:v>
                </c:pt>
                <c:pt idx="730">
                  <c:v>41516</c:v>
                </c:pt>
                <c:pt idx="731">
                  <c:v>41519</c:v>
                </c:pt>
                <c:pt idx="732">
                  <c:v>41520</c:v>
                </c:pt>
                <c:pt idx="733">
                  <c:v>41521</c:v>
                </c:pt>
                <c:pt idx="734">
                  <c:v>41522</c:v>
                </c:pt>
                <c:pt idx="735">
                  <c:v>41523</c:v>
                </c:pt>
                <c:pt idx="736">
                  <c:v>41526</c:v>
                </c:pt>
                <c:pt idx="737">
                  <c:v>41527</c:v>
                </c:pt>
                <c:pt idx="738">
                  <c:v>41528</c:v>
                </c:pt>
                <c:pt idx="739">
                  <c:v>41529</c:v>
                </c:pt>
                <c:pt idx="740">
                  <c:v>41530</c:v>
                </c:pt>
                <c:pt idx="741">
                  <c:v>41533</c:v>
                </c:pt>
                <c:pt idx="742">
                  <c:v>41534</c:v>
                </c:pt>
                <c:pt idx="743">
                  <c:v>41535</c:v>
                </c:pt>
                <c:pt idx="744">
                  <c:v>41536</c:v>
                </c:pt>
                <c:pt idx="745">
                  <c:v>41537</c:v>
                </c:pt>
                <c:pt idx="746">
                  <c:v>41540</c:v>
                </c:pt>
                <c:pt idx="747">
                  <c:v>41541</c:v>
                </c:pt>
                <c:pt idx="748">
                  <c:v>41542</c:v>
                </c:pt>
                <c:pt idx="749">
                  <c:v>41543</c:v>
                </c:pt>
                <c:pt idx="750">
                  <c:v>41544</c:v>
                </c:pt>
                <c:pt idx="751">
                  <c:v>41547</c:v>
                </c:pt>
                <c:pt idx="752">
                  <c:v>41548</c:v>
                </c:pt>
                <c:pt idx="753">
                  <c:v>41549</c:v>
                </c:pt>
                <c:pt idx="754">
                  <c:v>41550</c:v>
                </c:pt>
                <c:pt idx="755">
                  <c:v>41551</c:v>
                </c:pt>
                <c:pt idx="756">
                  <c:v>41554</c:v>
                </c:pt>
                <c:pt idx="757">
                  <c:v>41555</c:v>
                </c:pt>
                <c:pt idx="758">
                  <c:v>41556</c:v>
                </c:pt>
                <c:pt idx="759">
                  <c:v>41557</c:v>
                </c:pt>
                <c:pt idx="760">
                  <c:v>41558</c:v>
                </c:pt>
                <c:pt idx="761">
                  <c:v>41561</c:v>
                </c:pt>
                <c:pt idx="762">
                  <c:v>41562</c:v>
                </c:pt>
                <c:pt idx="763">
                  <c:v>41563</c:v>
                </c:pt>
                <c:pt idx="764">
                  <c:v>41564</c:v>
                </c:pt>
                <c:pt idx="765">
                  <c:v>41565</c:v>
                </c:pt>
                <c:pt idx="766">
                  <c:v>41568</c:v>
                </c:pt>
                <c:pt idx="767">
                  <c:v>41569</c:v>
                </c:pt>
                <c:pt idx="768">
                  <c:v>41570</c:v>
                </c:pt>
                <c:pt idx="769">
                  <c:v>41571</c:v>
                </c:pt>
                <c:pt idx="770">
                  <c:v>41572</c:v>
                </c:pt>
                <c:pt idx="771">
                  <c:v>41575</c:v>
                </c:pt>
                <c:pt idx="772">
                  <c:v>41576</c:v>
                </c:pt>
                <c:pt idx="773">
                  <c:v>41577</c:v>
                </c:pt>
                <c:pt idx="774">
                  <c:v>41578</c:v>
                </c:pt>
                <c:pt idx="775">
                  <c:v>41579</c:v>
                </c:pt>
                <c:pt idx="776">
                  <c:v>41582</c:v>
                </c:pt>
                <c:pt idx="777">
                  <c:v>41583</c:v>
                </c:pt>
                <c:pt idx="778">
                  <c:v>41584</c:v>
                </c:pt>
                <c:pt idx="779">
                  <c:v>41585</c:v>
                </c:pt>
                <c:pt idx="780">
                  <c:v>41586</c:v>
                </c:pt>
                <c:pt idx="781">
                  <c:v>41589</c:v>
                </c:pt>
                <c:pt idx="782">
                  <c:v>41590</c:v>
                </c:pt>
                <c:pt idx="783">
                  <c:v>41591</c:v>
                </c:pt>
                <c:pt idx="784">
                  <c:v>41592</c:v>
                </c:pt>
                <c:pt idx="785">
                  <c:v>41593</c:v>
                </c:pt>
                <c:pt idx="786">
                  <c:v>41596</c:v>
                </c:pt>
                <c:pt idx="787">
                  <c:v>41597</c:v>
                </c:pt>
                <c:pt idx="788">
                  <c:v>41598</c:v>
                </c:pt>
                <c:pt idx="789">
                  <c:v>41599</c:v>
                </c:pt>
                <c:pt idx="790">
                  <c:v>41600</c:v>
                </c:pt>
                <c:pt idx="791">
                  <c:v>41603</c:v>
                </c:pt>
                <c:pt idx="792">
                  <c:v>41604</c:v>
                </c:pt>
                <c:pt idx="793">
                  <c:v>41605</c:v>
                </c:pt>
                <c:pt idx="794">
                  <c:v>41606</c:v>
                </c:pt>
                <c:pt idx="795">
                  <c:v>41607</c:v>
                </c:pt>
                <c:pt idx="796">
                  <c:v>41610</c:v>
                </c:pt>
                <c:pt idx="797">
                  <c:v>41611</c:v>
                </c:pt>
                <c:pt idx="798">
                  <c:v>41612</c:v>
                </c:pt>
                <c:pt idx="799">
                  <c:v>41613</c:v>
                </c:pt>
                <c:pt idx="800">
                  <c:v>41614</c:v>
                </c:pt>
                <c:pt idx="801">
                  <c:v>41617</c:v>
                </c:pt>
                <c:pt idx="802">
                  <c:v>41618</c:v>
                </c:pt>
                <c:pt idx="803">
                  <c:v>41619</c:v>
                </c:pt>
                <c:pt idx="804">
                  <c:v>41620</c:v>
                </c:pt>
                <c:pt idx="805">
                  <c:v>41621</c:v>
                </c:pt>
                <c:pt idx="806">
                  <c:v>41624</c:v>
                </c:pt>
                <c:pt idx="807">
                  <c:v>41625</c:v>
                </c:pt>
                <c:pt idx="808">
                  <c:v>41626</c:v>
                </c:pt>
                <c:pt idx="809">
                  <c:v>41627</c:v>
                </c:pt>
                <c:pt idx="810">
                  <c:v>41628</c:v>
                </c:pt>
                <c:pt idx="811">
                  <c:v>41631</c:v>
                </c:pt>
                <c:pt idx="812">
                  <c:v>41632</c:v>
                </c:pt>
                <c:pt idx="813">
                  <c:v>41635</c:v>
                </c:pt>
                <c:pt idx="814">
                  <c:v>41638</c:v>
                </c:pt>
                <c:pt idx="815">
                  <c:v>41639</c:v>
                </c:pt>
                <c:pt idx="816">
                  <c:v>41641</c:v>
                </c:pt>
                <c:pt idx="817">
                  <c:v>41642</c:v>
                </c:pt>
                <c:pt idx="818">
                  <c:v>41645</c:v>
                </c:pt>
                <c:pt idx="819">
                  <c:v>41646</c:v>
                </c:pt>
                <c:pt idx="820">
                  <c:v>41647</c:v>
                </c:pt>
                <c:pt idx="821">
                  <c:v>41648</c:v>
                </c:pt>
                <c:pt idx="822">
                  <c:v>41649</c:v>
                </c:pt>
                <c:pt idx="823">
                  <c:v>41652</c:v>
                </c:pt>
                <c:pt idx="824">
                  <c:v>41653</c:v>
                </c:pt>
                <c:pt idx="825">
                  <c:v>41654</c:v>
                </c:pt>
                <c:pt idx="826">
                  <c:v>41655</c:v>
                </c:pt>
                <c:pt idx="827">
                  <c:v>41656</c:v>
                </c:pt>
                <c:pt idx="828">
                  <c:v>41659</c:v>
                </c:pt>
                <c:pt idx="829">
                  <c:v>41660</c:v>
                </c:pt>
                <c:pt idx="830">
                  <c:v>41661</c:v>
                </c:pt>
                <c:pt idx="831">
                  <c:v>41662</c:v>
                </c:pt>
                <c:pt idx="832">
                  <c:v>41663</c:v>
                </c:pt>
                <c:pt idx="833">
                  <c:v>41666</c:v>
                </c:pt>
                <c:pt idx="834">
                  <c:v>41667</c:v>
                </c:pt>
                <c:pt idx="835">
                  <c:v>41668</c:v>
                </c:pt>
                <c:pt idx="836">
                  <c:v>41669</c:v>
                </c:pt>
                <c:pt idx="837">
                  <c:v>41670</c:v>
                </c:pt>
                <c:pt idx="838">
                  <c:v>41673</c:v>
                </c:pt>
                <c:pt idx="839">
                  <c:v>41674</c:v>
                </c:pt>
                <c:pt idx="840">
                  <c:v>41675</c:v>
                </c:pt>
                <c:pt idx="841">
                  <c:v>41676</c:v>
                </c:pt>
                <c:pt idx="842">
                  <c:v>41677</c:v>
                </c:pt>
                <c:pt idx="843">
                  <c:v>41680</c:v>
                </c:pt>
                <c:pt idx="844">
                  <c:v>41681</c:v>
                </c:pt>
                <c:pt idx="845">
                  <c:v>41682</c:v>
                </c:pt>
                <c:pt idx="846">
                  <c:v>41683</c:v>
                </c:pt>
                <c:pt idx="847">
                  <c:v>41684</c:v>
                </c:pt>
                <c:pt idx="848">
                  <c:v>41687</c:v>
                </c:pt>
                <c:pt idx="849">
                  <c:v>41688</c:v>
                </c:pt>
                <c:pt idx="850">
                  <c:v>41689</c:v>
                </c:pt>
                <c:pt idx="851">
                  <c:v>41690</c:v>
                </c:pt>
                <c:pt idx="852">
                  <c:v>41691</c:v>
                </c:pt>
                <c:pt idx="853">
                  <c:v>41694</c:v>
                </c:pt>
                <c:pt idx="854">
                  <c:v>41695</c:v>
                </c:pt>
                <c:pt idx="855">
                  <c:v>41696</c:v>
                </c:pt>
                <c:pt idx="856">
                  <c:v>41697</c:v>
                </c:pt>
                <c:pt idx="857">
                  <c:v>41698</c:v>
                </c:pt>
                <c:pt idx="858">
                  <c:v>41701</c:v>
                </c:pt>
                <c:pt idx="859">
                  <c:v>41702</c:v>
                </c:pt>
                <c:pt idx="860">
                  <c:v>41703</c:v>
                </c:pt>
                <c:pt idx="861">
                  <c:v>41704</c:v>
                </c:pt>
                <c:pt idx="862">
                  <c:v>41705</c:v>
                </c:pt>
                <c:pt idx="863">
                  <c:v>41708</c:v>
                </c:pt>
                <c:pt idx="864">
                  <c:v>41709</c:v>
                </c:pt>
                <c:pt idx="865">
                  <c:v>41710</c:v>
                </c:pt>
                <c:pt idx="866">
                  <c:v>41711</c:v>
                </c:pt>
                <c:pt idx="867">
                  <c:v>41712</c:v>
                </c:pt>
                <c:pt idx="868">
                  <c:v>41715</c:v>
                </c:pt>
                <c:pt idx="869">
                  <c:v>41716</c:v>
                </c:pt>
                <c:pt idx="870">
                  <c:v>41717</c:v>
                </c:pt>
                <c:pt idx="871">
                  <c:v>41718</c:v>
                </c:pt>
                <c:pt idx="872">
                  <c:v>41719</c:v>
                </c:pt>
                <c:pt idx="873">
                  <c:v>41722</c:v>
                </c:pt>
                <c:pt idx="874">
                  <c:v>41723</c:v>
                </c:pt>
                <c:pt idx="875">
                  <c:v>41724</c:v>
                </c:pt>
                <c:pt idx="876">
                  <c:v>41725</c:v>
                </c:pt>
                <c:pt idx="877">
                  <c:v>41726</c:v>
                </c:pt>
                <c:pt idx="878">
                  <c:v>41729</c:v>
                </c:pt>
                <c:pt idx="879">
                  <c:v>41730</c:v>
                </c:pt>
                <c:pt idx="880">
                  <c:v>41731</c:v>
                </c:pt>
                <c:pt idx="881">
                  <c:v>41732</c:v>
                </c:pt>
                <c:pt idx="882">
                  <c:v>41733</c:v>
                </c:pt>
                <c:pt idx="883">
                  <c:v>41736</c:v>
                </c:pt>
                <c:pt idx="884">
                  <c:v>41737</c:v>
                </c:pt>
                <c:pt idx="885">
                  <c:v>41738</c:v>
                </c:pt>
                <c:pt idx="886">
                  <c:v>41739</c:v>
                </c:pt>
                <c:pt idx="887">
                  <c:v>41740</c:v>
                </c:pt>
                <c:pt idx="888">
                  <c:v>41743</c:v>
                </c:pt>
                <c:pt idx="889">
                  <c:v>41744</c:v>
                </c:pt>
                <c:pt idx="890">
                  <c:v>41745</c:v>
                </c:pt>
                <c:pt idx="891">
                  <c:v>41746</c:v>
                </c:pt>
                <c:pt idx="892">
                  <c:v>41751</c:v>
                </c:pt>
                <c:pt idx="893">
                  <c:v>41752</c:v>
                </c:pt>
                <c:pt idx="894">
                  <c:v>41753</c:v>
                </c:pt>
                <c:pt idx="895">
                  <c:v>41754</c:v>
                </c:pt>
                <c:pt idx="896">
                  <c:v>41757</c:v>
                </c:pt>
                <c:pt idx="897">
                  <c:v>41758</c:v>
                </c:pt>
                <c:pt idx="898">
                  <c:v>41759</c:v>
                </c:pt>
                <c:pt idx="899">
                  <c:v>41760</c:v>
                </c:pt>
                <c:pt idx="900">
                  <c:v>41761</c:v>
                </c:pt>
                <c:pt idx="901">
                  <c:v>41764</c:v>
                </c:pt>
                <c:pt idx="902">
                  <c:v>41765</c:v>
                </c:pt>
                <c:pt idx="903">
                  <c:v>41766</c:v>
                </c:pt>
                <c:pt idx="904">
                  <c:v>41767</c:v>
                </c:pt>
                <c:pt idx="905">
                  <c:v>41768</c:v>
                </c:pt>
                <c:pt idx="906">
                  <c:v>41771</c:v>
                </c:pt>
                <c:pt idx="907">
                  <c:v>41772</c:v>
                </c:pt>
                <c:pt idx="908">
                  <c:v>41773</c:v>
                </c:pt>
                <c:pt idx="909">
                  <c:v>41774</c:v>
                </c:pt>
                <c:pt idx="910">
                  <c:v>41775</c:v>
                </c:pt>
                <c:pt idx="911">
                  <c:v>41778</c:v>
                </c:pt>
                <c:pt idx="912">
                  <c:v>41779</c:v>
                </c:pt>
                <c:pt idx="913">
                  <c:v>41780</c:v>
                </c:pt>
                <c:pt idx="914">
                  <c:v>41781</c:v>
                </c:pt>
                <c:pt idx="915">
                  <c:v>41782</c:v>
                </c:pt>
                <c:pt idx="916">
                  <c:v>41785</c:v>
                </c:pt>
                <c:pt idx="917">
                  <c:v>41786</c:v>
                </c:pt>
                <c:pt idx="918">
                  <c:v>41787</c:v>
                </c:pt>
                <c:pt idx="919">
                  <c:v>41788</c:v>
                </c:pt>
                <c:pt idx="920">
                  <c:v>41789</c:v>
                </c:pt>
                <c:pt idx="921">
                  <c:v>41792</c:v>
                </c:pt>
                <c:pt idx="922">
                  <c:v>41793</c:v>
                </c:pt>
                <c:pt idx="923">
                  <c:v>41794</c:v>
                </c:pt>
                <c:pt idx="924">
                  <c:v>41795</c:v>
                </c:pt>
                <c:pt idx="925">
                  <c:v>41796</c:v>
                </c:pt>
                <c:pt idx="926">
                  <c:v>41799</c:v>
                </c:pt>
                <c:pt idx="927">
                  <c:v>41800</c:v>
                </c:pt>
                <c:pt idx="928">
                  <c:v>41801</c:v>
                </c:pt>
                <c:pt idx="929">
                  <c:v>41802</c:v>
                </c:pt>
                <c:pt idx="930">
                  <c:v>41803</c:v>
                </c:pt>
                <c:pt idx="931">
                  <c:v>41806</c:v>
                </c:pt>
                <c:pt idx="932">
                  <c:v>41807</c:v>
                </c:pt>
                <c:pt idx="933">
                  <c:v>41808</c:v>
                </c:pt>
                <c:pt idx="934">
                  <c:v>41809</c:v>
                </c:pt>
                <c:pt idx="935">
                  <c:v>41810</c:v>
                </c:pt>
                <c:pt idx="936">
                  <c:v>41813</c:v>
                </c:pt>
                <c:pt idx="937">
                  <c:v>41814</c:v>
                </c:pt>
                <c:pt idx="938">
                  <c:v>41815</c:v>
                </c:pt>
                <c:pt idx="939">
                  <c:v>41816</c:v>
                </c:pt>
                <c:pt idx="940">
                  <c:v>41817</c:v>
                </c:pt>
                <c:pt idx="941">
                  <c:v>41820</c:v>
                </c:pt>
                <c:pt idx="942">
                  <c:v>41821</c:v>
                </c:pt>
                <c:pt idx="943">
                  <c:v>41822</c:v>
                </c:pt>
                <c:pt idx="944">
                  <c:v>41823</c:v>
                </c:pt>
                <c:pt idx="945">
                  <c:v>41824</c:v>
                </c:pt>
                <c:pt idx="946">
                  <c:v>41827</c:v>
                </c:pt>
                <c:pt idx="947">
                  <c:v>41828</c:v>
                </c:pt>
                <c:pt idx="948">
                  <c:v>41829</c:v>
                </c:pt>
                <c:pt idx="949">
                  <c:v>41830</c:v>
                </c:pt>
                <c:pt idx="950">
                  <c:v>41831</c:v>
                </c:pt>
                <c:pt idx="951">
                  <c:v>41834</c:v>
                </c:pt>
                <c:pt idx="952">
                  <c:v>41835</c:v>
                </c:pt>
                <c:pt idx="953">
                  <c:v>41836</c:v>
                </c:pt>
                <c:pt idx="954">
                  <c:v>41837</c:v>
                </c:pt>
                <c:pt idx="955">
                  <c:v>41838</c:v>
                </c:pt>
                <c:pt idx="956">
                  <c:v>41841</c:v>
                </c:pt>
                <c:pt idx="957">
                  <c:v>41842</c:v>
                </c:pt>
                <c:pt idx="958">
                  <c:v>41843</c:v>
                </c:pt>
                <c:pt idx="959">
                  <c:v>41844</c:v>
                </c:pt>
                <c:pt idx="960">
                  <c:v>41845</c:v>
                </c:pt>
                <c:pt idx="961">
                  <c:v>41848</c:v>
                </c:pt>
                <c:pt idx="962">
                  <c:v>41849</c:v>
                </c:pt>
                <c:pt idx="963">
                  <c:v>41850</c:v>
                </c:pt>
                <c:pt idx="964">
                  <c:v>41851</c:v>
                </c:pt>
                <c:pt idx="965">
                  <c:v>41852</c:v>
                </c:pt>
                <c:pt idx="966">
                  <c:v>41855</c:v>
                </c:pt>
                <c:pt idx="967">
                  <c:v>41856</c:v>
                </c:pt>
                <c:pt idx="968">
                  <c:v>41857</c:v>
                </c:pt>
                <c:pt idx="969">
                  <c:v>41858</c:v>
                </c:pt>
                <c:pt idx="970">
                  <c:v>41859</c:v>
                </c:pt>
                <c:pt idx="971">
                  <c:v>41862</c:v>
                </c:pt>
                <c:pt idx="972">
                  <c:v>41863</c:v>
                </c:pt>
                <c:pt idx="973">
                  <c:v>41864</c:v>
                </c:pt>
                <c:pt idx="974">
                  <c:v>41865</c:v>
                </c:pt>
                <c:pt idx="975">
                  <c:v>41866</c:v>
                </c:pt>
                <c:pt idx="976">
                  <c:v>41869</c:v>
                </c:pt>
                <c:pt idx="977">
                  <c:v>41870</c:v>
                </c:pt>
                <c:pt idx="978">
                  <c:v>41871</c:v>
                </c:pt>
                <c:pt idx="979">
                  <c:v>41872</c:v>
                </c:pt>
                <c:pt idx="980">
                  <c:v>41873</c:v>
                </c:pt>
                <c:pt idx="981">
                  <c:v>41876</c:v>
                </c:pt>
                <c:pt idx="982">
                  <c:v>41877</c:v>
                </c:pt>
                <c:pt idx="983">
                  <c:v>41878</c:v>
                </c:pt>
                <c:pt idx="984">
                  <c:v>41879</c:v>
                </c:pt>
                <c:pt idx="985">
                  <c:v>41880</c:v>
                </c:pt>
                <c:pt idx="986">
                  <c:v>41883</c:v>
                </c:pt>
                <c:pt idx="987">
                  <c:v>41884</c:v>
                </c:pt>
                <c:pt idx="988">
                  <c:v>41885</c:v>
                </c:pt>
                <c:pt idx="989">
                  <c:v>41886</c:v>
                </c:pt>
                <c:pt idx="990">
                  <c:v>41887</c:v>
                </c:pt>
                <c:pt idx="991">
                  <c:v>41890</c:v>
                </c:pt>
                <c:pt idx="992">
                  <c:v>41891</c:v>
                </c:pt>
                <c:pt idx="993">
                  <c:v>41892</c:v>
                </c:pt>
                <c:pt idx="994">
                  <c:v>41893</c:v>
                </c:pt>
                <c:pt idx="995">
                  <c:v>41894</c:v>
                </c:pt>
                <c:pt idx="996">
                  <c:v>41897</c:v>
                </c:pt>
                <c:pt idx="997">
                  <c:v>41898</c:v>
                </c:pt>
                <c:pt idx="998">
                  <c:v>41899</c:v>
                </c:pt>
                <c:pt idx="999">
                  <c:v>41900</c:v>
                </c:pt>
                <c:pt idx="1000">
                  <c:v>41901</c:v>
                </c:pt>
                <c:pt idx="1001">
                  <c:v>41904</c:v>
                </c:pt>
                <c:pt idx="1002">
                  <c:v>41905</c:v>
                </c:pt>
                <c:pt idx="1003">
                  <c:v>41906</c:v>
                </c:pt>
                <c:pt idx="1004">
                  <c:v>41907</c:v>
                </c:pt>
                <c:pt idx="1005">
                  <c:v>41908</c:v>
                </c:pt>
                <c:pt idx="1006">
                  <c:v>41911</c:v>
                </c:pt>
                <c:pt idx="1007">
                  <c:v>41912</c:v>
                </c:pt>
                <c:pt idx="1008">
                  <c:v>41913</c:v>
                </c:pt>
                <c:pt idx="1009">
                  <c:v>41914</c:v>
                </c:pt>
                <c:pt idx="1010">
                  <c:v>41915</c:v>
                </c:pt>
                <c:pt idx="1011">
                  <c:v>41918</c:v>
                </c:pt>
                <c:pt idx="1012">
                  <c:v>41919</c:v>
                </c:pt>
                <c:pt idx="1013">
                  <c:v>41920</c:v>
                </c:pt>
                <c:pt idx="1014">
                  <c:v>41921</c:v>
                </c:pt>
                <c:pt idx="1015">
                  <c:v>41922</c:v>
                </c:pt>
                <c:pt idx="1016">
                  <c:v>41925</c:v>
                </c:pt>
                <c:pt idx="1017">
                  <c:v>41926</c:v>
                </c:pt>
                <c:pt idx="1018">
                  <c:v>41927</c:v>
                </c:pt>
                <c:pt idx="1019">
                  <c:v>41928</c:v>
                </c:pt>
                <c:pt idx="1020">
                  <c:v>41929</c:v>
                </c:pt>
                <c:pt idx="1021">
                  <c:v>41932</c:v>
                </c:pt>
                <c:pt idx="1022">
                  <c:v>41933</c:v>
                </c:pt>
                <c:pt idx="1023">
                  <c:v>41934</c:v>
                </c:pt>
                <c:pt idx="1024">
                  <c:v>41935</c:v>
                </c:pt>
                <c:pt idx="1025">
                  <c:v>41936</c:v>
                </c:pt>
                <c:pt idx="1026">
                  <c:v>41939</c:v>
                </c:pt>
                <c:pt idx="1027">
                  <c:v>41940</c:v>
                </c:pt>
                <c:pt idx="1028">
                  <c:v>41941</c:v>
                </c:pt>
                <c:pt idx="1029">
                  <c:v>41942</c:v>
                </c:pt>
                <c:pt idx="1030">
                  <c:v>41943</c:v>
                </c:pt>
                <c:pt idx="1031">
                  <c:v>41946</c:v>
                </c:pt>
                <c:pt idx="1032">
                  <c:v>41947</c:v>
                </c:pt>
                <c:pt idx="1033">
                  <c:v>41948</c:v>
                </c:pt>
                <c:pt idx="1034">
                  <c:v>41949</c:v>
                </c:pt>
                <c:pt idx="1035">
                  <c:v>41950</c:v>
                </c:pt>
                <c:pt idx="1036">
                  <c:v>41953</c:v>
                </c:pt>
                <c:pt idx="1037">
                  <c:v>41954</c:v>
                </c:pt>
                <c:pt idx="1038">
                  <c:v>41955</c:v>
                </c:pt>
                <c:pt idx="1039">
                  <c:v>41956</c:v>
                </c:pt>
                <c:pt idx="1040">
                  <c:v>41957</c:v>
                </c:pt>
                <c:pt idx="1041">
                  <c:v>41960</c:v>
                </c:pt>
                <c:pt idx="1042">
                  <c:v>41961</c:v>
                </c:pt>
                <c:pt idx="1043">
                  <c:v>41962</c:v>
                </c:pt>
                <c:pt idx="1044">
                  <c:v>41963</c:v>
                </c:pt>
                <c:pt idx="1045">
                  <c:v>41964</c:v>
                </c:pt>
                <c:pt idx="1046">
                  <c:v>41967</c:v>
                </c:pt>
                <c:pt idx="1047">
                  <c:v>41968</c:v>
                </c:pt>
                <c:pt idx="1048">
                  <c:v>41969</c:v>
                </c:pt>
                <c:pt idx="1049">
                  <c:v>41970</c:v>
                </c:pt>
                <c:pt idx="1050">
                  <c:v>41971</c:v>
                </c:pt>
                <c:pt idx="1051">
                  <c:v>41974</c:v>
                </c:pt>
                <c:pt idx="1052">
                  <c:v>41975</c:v>
                </c:pt>
                <c:pt idx="1053">
                  <c:v>41976</c:v>
                </c:pt>
                <c:pt idx="1054">
                  <c:v>41977</c:v>
                </c:pt>
                <c:pt idx="1055">
                  <c:v>41978</c:v>
                </c:pt>
                <c:pt idx="1056">
                  <c:v>41981</c:v>
                </c:pt>
                <c:pt idx="1057">
                  <c:v>41982</c:v>
                </c:pt>
                <c:pt idx="1058">
                  <c:v>41983</c:v>
                </c:pt>
                <c:pt idx="1059">
                  <c:v>41984</c:v>
                </c:pt>
                <c:pt idx="1060">
                  <c:v>41985</c:v>
                </c:pt>
                <c:pt idx="1061">
                  <c:v>41988</c:v>
                </c:pt>
                <c:pt idx="1062">
                  <c:v>41989</c:v>
                </c:pt>
                <c:pt idx="1063">
                  <c:v>41990</c:v>
                </c:pt>
                <c:pt idx="1064">
                  <c:v>41991</c:v>
                </c:pt>
                <c:pt idx="1065">
                  <c:v>41992</c:v>
                </c:pt>
                <c:pt idx="1066">
                  <c:v>41995</c:v>
                </c:pt>
                <c:pt idx="1067">
                  <c:v>41996</c:v>
                </c:pt>
                <c:pt idx="1068">
                  <c:v>41997</c:v>
                </c:pt>
                <c:pt idx="1069">
                  <c:v>42002</c:v>
                </c:pt>
                <c:pt idx="1070">
                  <c:v>42003</c:v>
                </c:pt>
                <c:pt idx="1071">
                  <c:v>42004</c:v>
                </c:pt>
                <c:pt idx="1072">
                  <c:v>42006</c:v>
                </c:pt>
                <c:pt idx="1073">
                  <c:v>42009</c:v>
                </c:pt>
                <c:pt idx="1074">
                  <c:v>42010</c:v>
                </c:pt>
                <c:pt idx="1075">
                  <c:v>42011</c:v>
                </c:pt>
                <c:pt idx="1076">
                  <c:v>42012</c:v>
                </c:pt>
                <c:pt idx="1077">
                  <c:v>42013</c:v>
                </c:pt>
                <c:pt idx="1078">
                  <c:v>42016</c:v>
                </c:pt>
                <c:pt idx="1079">
                  <c:v>42017</c:v>
                </c:pt>
                <c:pt idx="1080">
                  <c:v>42018</c:v>
                </c:pt>
                <c:pt idx="1081">
                  <c:v>42019</c:v>
                </c:pt>
                <c:pt idx="1082">
                  <c:v>42020</c:v>
                </c:pt>
                <c:pt idx="1083">
                  <c:v>42023</c:v>
                </c:pt>
                <c:pt idx="1084">
                  <c:v>42024</c:v>
                </c:pt>
                <c:pt idx="1085">
                  <c:v>42025</c:v>
                </c:pt>
                <c:pt idx="1086">
                  <c:v>42026</c:v>
                </c:pt>
                <c:pt idx="1087">
                  <c:v>42027</c:v>
                </c:pt>
                <c:pt idx="1088">
                  <c:v>42030</c:v>
                </c:pt>
                <c:pt idx="1089">
                  <c:v>42031</c:v>
                </c:pt>
                <c:pt idx="1090">
                  <c:v>42032</c:v>
                </c:pt>
                <c:pt idx="1091">
                  <c:v>42033</c:v>
                </c:pt>
                <c:pt idx="1092">
                  <c:v>42034</c:v>
                </c:pt>
                <c:pt idx="1093">
                  <c:v>42037</c:v>
                </c:pt>
                <c:pt idx="1094">
                  <c:v>42038</c:v>
                </c:pt>
                <c:pt idx="1095">
                  <c:v>42039</c:v>
                </c:pt>
                <c:pt idx="1096">
                  <c:v>42040</c:v>
                </c:pt>
                <c:pt idx="1097">
                  <c:v>42041</c:v>
                </c:pt>
                <c:pt idx="1098">
                  <c:v>42044</c:v>
                </c:pt>
                <c:pt idx="1099">
                  <c:v>42045</c:v>
                </c:pt>
                <c:pt idx="1100">
                  <c:v>42046</c:v>
                </c:pt>
                <c:pt idx="1101">
                  <c:v>42047</c:v>
                </c:pt>
                <c:pt idx="1102">
                  <c:v>42048</c:v>
                </c:pt>
                <c:pt idx="1103">
                  <c:v>42051</c:v>
                </c:pt>
                <c:pt idx="1104">
                  <c:v>42052</c:v>
                </c:pt>
                <c:pt idx="1105">
                  <c:v>42053</c:v>
                </c:pt>
                <c:pt idx="1106">
                  <c:v>42054</c:v>
                </c:pt>
                <c:pt idx="1107">
                  <c:v>42055</c:v>
                </c:pt>
                <c:pt idx="1108">
                  <c:v>42058</c:v>
                </c:pt>
                <c:pt idx="1109">
                  <c:v>42059</c:v>
                </c:pt>
                <c:pt idx="1110">
                  <c:v>42060</c:v>
                </c:pt>
                <c:pt idx="1111">
                  <c:v>42061</c:v>
                </c:pt>
                <c:pt idx="1112">
                  <c:v>42062</c:v>
                </c:pt>
                <c:pt idx="1113">
                  <c:v>42065</c:v>
                </c:pt>
                <c:pt idx="1114">
                  <c:v>42066</c:v>
                </c:pt>
                <c:pt idx="1115">
                  <c:v>42067</c:v>
                </c:pt>
                <c:pt idx="1116">
                  <c:v>42068</c:v>
                </c:pt>
                <c:pt idx="1117">
                  <c:v>42069</c:v>
                </c:pt>
                <c:pt idx="1118">
                  <c:v>42072</c:v>
                </c:pt>
                <c:pt idx="1119">
                  <c:v>42073</c:v>
                </c:pt>
                <c:pt idx="1120">
                  <c:v>42074</c:v>
                </c:pt>
                <c:pt idx="1121">
                  <c:v>42075</c:v>
                </c:pt>
                <c:pt idx="1122">
                  <c:v>42076</c:v>
                </c:pt>
                <c:pt idx="1123">
                  <c:v>42079</c:v>
                </c:pt>
                <c:pt idx="1124">
                  <c:v>42080</c:v>
                </c:pt>
                <c:pt idx="1125">
                  <c:v>42081</c:v>
                </c:pt>
                <c:pt idx="1126">
                  <c:v>42082</c:v>
                </c:pt>
                <c:pt idx="1127">
                  <c:v>42083</c:v>
                </c:pt>
                <c:pt idx="1128">
                  <c:v>42086</c:v>
                </c:pt>
                <c:pt idx="1129">
                  <c:v>42087</c:v>
                </c:pt>
                <c:pt idx="1130">
                  <c:v>42088</c:v>
                </c:pt>
                <c:pt idx="1131">
                  <c:v>42089</c:v>
                </c:pt>
                <c:pt idx="1132">
                  <c:v>42090</c:v>
                </c:pt>
                <c:pt idx="1133">
                  <c:v>42093</c:v>
                </c:pt>
                <c:pt idx="1134">
                  <c:v>42094</c:v>
                </c:pt>
                <c:pt idx="1135">
                  <c:v>42095</c:v>
                </c:pt>
                <c:pt idx="1136">
                  <c:v>42096</c:v>
                </c:pt>
                <c:pt idx="1137">
                  <c:v>42101</c:v>
                </c:pt>
                <c:pt idx="1138">
                  <c:v>42102</c:v>
                </c:pt>
                <c:pt idx="1139">
                  <c:v>42103</c:v>
                </c:pt>
                <c:pt idx="1140">
                  <c:v>42104</c:v>
                </c:pt>
                <c:pt idx="1141">
                  <c:v>42107</c:v>
                </c:pt>
                <c:pt idx="1142">
                  <c:v>42108</c:v>
                </c:pt>
                <c:pt idx="1143">
                  <c:v>42109</c:v>
                </c:pt>
                <c:pt idx="1144">
                  <c:v>42110</c:v>
                </c:pt>
                <c:pt idx="1145">
                  <c:v>42111</c:v>
                </c:pt>
                <c:pt idx="1146">
                  <c:v>42114</c:v>
                </c:pt>
                <c:pt idx="1147">
                  <c:v>42115</c:v>
                </c:pt>
                <c:pt idx="1148">
                  <c:v>42116</c:v>
                </c:pt>
                <c:pt idx="1149">
                  <c:v>42117</c:v>
                </c:pt>
                <c:pt idx="1150">
                  <c:v>42118</c:v>
                </c:pt>
                <c:pt idx="1151">
                  <c:v>42121</c:v>
                </c:pt>
                <c:pt idx="1152">
                  <c:v>42122</c:v>
                </c:pt>
                <c:pt idx="1153">
                  <c:v>42123</c:v>
                </c:pt>
                <c:pt idx="1154">
                  <c:v>42124</c:v>
                </c:pt>
                <c:pt idx="1155">
                  <c:v>42125</c:v>
                </c:pt>
                <c:pt idx="1156">
                  <c:v>42128</c:v>
                </c:pt>
                <c:pt idx="1157">
                  <c:v>42129</c:v>
                </c:pt>
                <c:pt idx="1158">
                  <c:v>42130</c:v>
                </c:pt>
                <c:pt idx="1159">
                  <c:v>42131</c:v>
                </c:pt>
                <c:pt idx="1160">
                  <c:v>42132</c:v>
                </c:pt>
                <c:pt idx="1161">
                  <c:v>42135</c:v>
                </c:pt>
                <c:pt idx="1162">
                  <c:v>42136</c:v>
                </c:pt>
                <c:pt idx="1163">
                  <c:v>42137</c:v>
                </c:pt>
                <c:pt idx="1164">
                  <c:v>42138</c:v>
                </c:pt>
                <c:pt idx="1165">
                  <c:v>42139</c:v>
                </c:pt>
                <c:pt idx="1166">
                  <c:v>42142</c:v>
                </c:pt>
                <c:pt idx="1167">
                  <c:v>42143</c:v>
                </c:pt>
                <c:pt idx="1168">
                  <c:v>42144</c:v>
                </c:pt>
                <c:pt idx="1169">
                  <c:v>42145</c:v>
                </c:pt>
                <c:pt idx="1170">
                  <c:v>42146</c:v>
                </c:pt>
                <c:pt idx="1171">
                  <c:v>42149</c:v>
                </c:pt>
                <c:pt idx="1172">
                  <c:v>42150</c:v>
                </c:pt>
                <c:pt idx="1173">
                  <c:v>42151</c:v>
                </c:pt>
                <c:pt idx="1174">
                  <c:v>42152</c:v>
                </c:pt>
                <c:pt idx="1175">
                  <c:v>42153</c:v>
                </c:pt>
                <c:pt idx="1176">
                  <c:v>42156</c:v>
                </c:pt>
                <c:pt idx="1177">
                  <c:v>42157</c:v>
                </c:pt>
                <c:pt idx="1178">
                  <c:v>42158</c:v>
                </c:pt>
                <c:pt idx="1179">
                  <c:v>42159</c:v>
                </c:pt>
                <c:pt idx="1180">
                  <c:v>42160</c:v>
                </c:pt>
                <c:pt idx="1181">
                  <c:v>42163</c:v>
                </c:pt>
                <c:pt idx="1182">
                  <c:v>42164</c:v>
                </c:pt>
                <c:pt idx="1183">
                  <c:v>42165</c:v>
                </c:pt>
                <c:pt idx="1184">
                  <c:v>42166</c:v>
                </c:pt>
                <c:pt idx="1185">
                  <c:v>42167</c:v>
                </c:pt>
                <c:pt idx="1186">
                  <c:v>42170</c:v>
                </c:pt>
                <c:pt idx="1187">
                  <c:v>42171</c:v>
                </c:pt>
                <c:pt idx="1188">
                  <c:v>42172</c:v>
                </c:pt>
                <c:pt idx="1189">
                  <c:v>42173</c:v>
                </c:pt>
                <c:pt idx="1190">
                  <c:v>42174</c:v>
                </c:pt>
                <c:pt idx="1191">
                  <c:v>42177</c:v>
                </c:pt>
                <c:pt idx="1192">
                  <c:v>42178</c:v>
                </c:pt>
                <c:pt idx="1193">
                  <c:v>42179</c:v>
                </c:pt>
                <c:pt idx="1194">
                  <c:v>42180</c:v>
                </c:pt>
                <c:pt idx="1195">
                  <c:v>42181</c:v>
                </c:pt>
                <c:pt idx="1196">
                  <c:v>42184</c:v>
                </c:pt>
                <c:pt idx="1197">
                  <c:v>42185</c:v>
                </c:pt>
                <c:pt idx="1198">
                  <c:v>42186</c:v>
                </c:pt>
                <c:pt idx="1199">
                  <c:v>42187</c:v>
                </c:pt>
                <c:pt idx="1200">
                  <c:v>42188</c:v>
                </c:pt>
                <c:pt idx="1201">
                  <c:v>42191</c:v>
                </c:pt>
                <c:pt idx="1202">
                  <c:v>42192</c:v>
                </c:pt>
                <c:pt idx="1203">
                  <c:v>42193</c:v>
                </c:pt>
                <c:pt idx="1204">
                  <c:v>42194</c:v>
                </c:pt>
                <c:pt idx="1205">
                  <c:v>42195</c:v>
                </c:pt>
                <c:pt idx="1206">
                  <c:v>42198</c:v>
                </c:pt>
                <c:pt idx="1207">
                  <c:v>42199</c:v>
                </c:pt>
                <c:pt idx="1208">
                  <c:v>42200</c:v>
                </c:pt>
                <c:pt idx="1209">
                  <c:v>42201</c:v>
                </c:pt>
                <c:pt idx="1210">
                  <c:v>42202</c:v>
                </c:pt>
                <c:pt idx="1211">
                  <c:v>42205</c:v>
                </c:pt>
                <c:pt idx="1212">
                  <c:v>42206</c:v>
                </c:pt>
                <c:pt idx="1213">
                  <c:v>42207</c:v>
                </c:pt>
                <c:pt idx="1214">
                  <c:v>42208</c:v>
                </c:pt>
                <c:pt idx="1215">
                  <c:v>42209</c:v>
                </c:pt>
                <c:pt idx="1216">
                  <c:v>42212</c:v>
                </c:pt>
                <c:pt idx="1217">
                  <c:v>42213</c:v>
                </c:pt>
                <c:pt idx="1218">
                  <c:v>42214</c:v>
                </c:pt>
                <c:pt idx="1219">
                  <c:v>42215</c:v>
                </c:pt>
                <c:pt idx="1220">
                  <c:v>42216</c:v>
                </c:pt>
                <c:pt idx="1221">
                  <c:v>42219</c:v>
                </c:pt>
                <c:pt idx="1222">
                  <c:v>42220</c:v>
                </c:pt>
                <c:pt idx="1223">
                  <c:v>42221</c:v>
                </c:pt>
                <c:pt idx="1224">
                  <c:v>42222</c:v>
                </c:pt>
                <c:pt idx="1225">
                  <c:v>42223</c:v>
                </c:pt>
                <c:pt idx="1226">
                  <c:v>42226</c:v>
                </c:pt>
                <c:pt idx="1227">
                  <c:v>42227</c:v>
                </c:pt>
                <c:pt idx="1228">
                  <c:v>42228</c:v>
                </c:pt>
                <c:pt idx="1229">
                  <c:v>42229</c:v>
                </c:pt>
                <c:pt idx="1230">
                  <c:v>42230</c:v>
                </c:pt>
                <c:pt idx="1231">
                  <c:v>42233</c:v>
                </c:pt>
                <c:pt idx="1232">
                  <c:v>42234</c:v>
                </c:pt>
                <c:pt idx="1233">
                  <c:v>42235</c:v>
                </c:pt>
                <c:pt idx="1234">
                  <c:v>42236</c:v>
                </c:pt>
                <c:pt idx="1235">
                  <c:v>42237</c:v>
                </c:pt>
                <c:pt idx="1236">
                  <c:v>42240</c:v>
                </c:pt>
                <c:pt idx="1237">
                  <c:v>42241</c:v>
                </c:pt>
                <c:pt idx="1238">
                  <c:v>42242</c:v>
                </c:pt>
                <c:pt idx="1239">
                  <c:v>42243</c:v>
                </c:pt>
                <c:pt idx="1240">
                  <c:v>42244</c:v>
                </c:pt>
                <c:pt idx="1241">
                  <c:v>42247</c:v>
                </c:pt>
                <c:pt idx="1242">
                  <c:v>42248</c:v>
                </c:pt>
                <c:pt idx="1243">
                  <c:v>42249</c:v>
                </c:pt>
                <c:pt idx="1244">
                  <c:v>42250</c:v>
                </c:pt>
                <c:pt idx="1245">
                  <c:v>42251</c:v>
                </c:pt>
              </c:numCache>
            </c:numRef>
          </c:cat>
          <c:val>
            <c:numRef>
              <c:f>Sheet1!$D$2:$D$1247</c:f>
              <c:numCache>
                <c:formatCode>General</c:formatCode>
                <c:ptCount val="1246"/>
              </c:numCache>
            </c:numRef>
          </c:val>
          <c:smooth val="0"/>
        </c:ser>
        <c:dLbls>
          <c:showLegendKey val="0"/>
          <c:showVal val="0"/>
          <c:showCatName val="0"/>
          <c:showSerName val="0"/>
          <c:showPercent val="0"/>
          <c:showBubbleSize val="0"/>
        </c:dLbls>
        <c:marker val="1"/>
        <c:smooth val="0"/>
        <c:axId val="44129280"/>
        <c:axId val="44187648"/>
      </c:lineChart>
      <c:dateAx>
        <c:axId val="44129280"/>
        <c:scaling>
          <c:orientation val="minMax"/>
        </c:scaling>
        <c:delete val="0"/>
        <c:axPos val="b"/>
        <c:numFmt formatCode="[$-409]mmm\-yy;@" sourceLinked="0"/>
        <c:majorTickMark val="in"/>
        <c:minorTickMark val="in"/>
        <c:tickLblPos val="nextTo"/>
        <c:spPr>
          <a:ln w="12700">
            <a:solidFill>
              <a:schemeClr val="tx2"/>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44187648"/>
        <c:crosses val="autoZero"/>
        <c:auto val="1"/>
        <c:lblOffset val="100"/>
        <c:baseTimeUnit val="days"/>
      </c:dateAx>
      <c:valAx>
        <c:axId val="44187648"/>
        <c:scaling>
          <c:orientation val="minMax"/>
        </c:scaling>
        <c:delete val="0"/>
        <c:axPos val="l"/>
        <c:majorGridlines>
          <c:spPr>
            <a:ln w="12700" cmpd="sng">
              <a:solidFill>
                <a:schemeClr val="tx2"/>
              </a:solidFill>
              <a:prstDash val="solid"/>
            </a:ln>
          </c:spPr>
        </c:majorGridlines>
        <c:numFmt formatCode="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44129280"/>
        <c:crosses val="autoZero"/>
        <c:crossBetween val="between"/>
      </c:valAx>
      <c:spPr>
        <a:noFill/>
        <a:ln w="25313">
          <a:noFill/>
        </a:ln>
      </c:spPr>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10</c:f>
              <c:strCache>
                <c:ptCount val="9"/>
                <c:pt idx="0">
                  <c:v>Banks</c:v>
                </c:pt>
                <c:pt idx="1">
                  <c:v>Construction &amp; Materials</c:v>
                </c:pt>
                <c:pt idx="2">
                  <c:v>Real Estate</c:v>
                </c:pt>
                <c:pt idx="3">
                  <c:v>Media</c:v>
                </c:pt>
                <c:pt idx="4">
                  <c:v>Telecommunications</c:v>
                </c:pt>
                <c:pt idx="5">
                  <c:v>Retail</c:v>
                </c:pt>
                <c:pt idx="6">
                  <c:v>Oil &amp; Gas</c:v>
                </c:pt>
                <c:pt idx="7">
                  <c:v>Industrial Goods &amp; Services</c:v>
                </c:pt>
                <c:pt idx="8">
                  <c:v>Insurance</c:v>
                </c:pt>
              </c:strCache>
            </c:strRef>
          </c:cat>
          <c:val>
            <c:numRef>
              <c:f>Sheet1!$B$2:$B$10</c:f>
              <c:numCache>
                <c:formatCode>0.00%</c:formatCode>
                <c:ptCount val="9"/>
                <c:pt idx="0">
                  <c:v>3.5262599999999998E-2</c:v>
                </c:pt>
                <c:pt idx="1">
                  <c:v>6.2072299999999997E-2</c:v>
                </c:pt>
                <c:pt idx="2">
                  <c:v>6.2964300000000001E-2</c:v>
                </c:pt>
                <c:pt idx="3">
                  <c:v>6.4384300000000005E-2</c:v>
                </c:pt>
                <c:pt idx="4">
                  <c:v>7.1837799999999993E-2</c:v>
                </c:pt>
                <c:pt idx="5">
                  <c:v>7.6760700000000001E-2</c:v>
                </c:pt>
                <c:pt idx="6">
                  <c:v>9.6501199999999995E-2</c:v>
                </c:pt>
                <c:pt idx="7">
                  <c:v>0.13554730000000001</c:v>
                </c:pt>
                <c:pt idx="8">
                  <c:v>0.191436</c:v>
                </c:pt>
              </c:numCache>
            </c:numRef>
          </c:val>
        </c:ser>
        <c:dLbls>
          <c:showLegendKey val="0"/>
          <c:showVal val="0"/>
          <c:showCatName val="0"/>
          <c:showSerName val="0"/>
          <c:showPercent val="0"/>
          <c:showBubbleSize val="0"/>
        </c:dLbls>
        <c:gapWidth val="150"/>
        <c:axId val="260055808"/>
        <c:axId val="260057344"/>
      </c:barChart>
      <c:catAx>
        <c:axId val="260055808"/>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260057344"/>
        <c:crosses val="autoZero"/>
        <c:auto val="1"/>
        <c:lblAlgn val="ctr"/>
        <c:lblOffset val="100"/>
        <c:noMultiLvlLbl val="0"/>
      </c:catAx>
      <c:valAx>
        <c:axId val="260057344"/>
        <c:scaling>
          <c:orientation val="minMax"/>
        </c:scaling>
        <c:delete val="1"/>
        <c:axPos val="b"/>
        <c:numFmt formatCode="0.00%" sourceLinked="1"/>
        <c:majorTickMark val="out"/>
        <c:minorTickMark val="none"/>
        <c:tickLblPos val="nextTo"/>
        <c:crossAx val="260055808"/>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9</c:f>
              <c:strCache>
                <c:ptCount val="8"/>
                <c:pt idx="0">
                  <c:v>Spain</c:v>
                </c:pt>
                <c:pt idx="1">
                  <c:v>Belgium</c:v>
                </c:pt>
                <c:pt idx="2">
                  <c:v>Portugal</c:v>
                </c:pt>
                <c:pt idx="3">
                  <c:v>Finland</c:v>
                </c:pt>
                <c:pt idx="4">
                  <c:v>Netherlands</c:v>
                </c:pt>
                <c:pt idx="5">
                  <c:v>Italy</c:v>
                </c:pt>
                <c:pt idx="6">
                  <c:v>Germany</c:v>
                </c:pt>
                <c:pt idx="7">
                  <c:v>France</c:v>
                </c:pt>
              </c:strCache>
            </c:strRef>
          </c:cat>
          <c:val>
            <c:numRef>
              <c:f>Sheet1!$B$2:$B$9</c:f>
              <c:numCache>
                <c:formatCode>0.00%</c:formatCode>
                <c:ptCount val="8"/>
                <c:pt idx="0">
                  <c:v>3.5262599999999998E-2</c:v>
                </c:pt>
                <c:pt idx="1">
                  <c:v>3.9517900000000002E-2</c:v>
                </c:pt>
                <c:pt idx="2">
                  <c:v>4.5263999999999999E-2</c:v>
                </c:pt>
                <c:pt idx="3">
                  <c:v>0.1084914</c:v>
                </c:pt>
                <c:pt idx="4">
                  <c:v>0.1166585</c:v>
                </c:pt>
                <c:pt idx="5">
                  <c:v>0.13655639999999999</c:v>
                </c:pt>
                <c:pt idx="6">
                  <c:v>0.2147251</c:v>
                </c:pt>
                <c:pt idx="7">
                  <c:v>0.30352420000000002</c:v>
                </c:pt>
              </c:numCache>
            </c:numRef>
          </c:val>
        </c:ser>
        <c:dLbls>
          <c:showLegendKey val="0"/>
          <c:showVal val="0"/>
          <c:showCatName val="0"/>
          <c:showSerName val="0"/>
          <c:showPercent val="0"/>
          <c:showBubbleSize val="0"/>
        </c:dLbls>
        <c:gapWidth val="150"/>
        <c:axId val="260147840"/>
        <c:axId val="260153728"/>
      </c:barChart>
      <c:catAx>
        <c:axId val="260147840"/>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260153728"/>
        <c:crosses val="autoZero"/>
        <c:auto val="1"/>
        <c:lblAlgn val="ctr"/>
        <c:lblOffset val="100"/>
        <c:noMultiLvlLbl val="0"/>
      </c:catAx>
      <c:valAx>
        <c:axId val="260153728"/>
        <c:scaling>
          <c:orientation val="minMax"/>
        </c:scaling>
        <c:delete val="1"/>
        <c:axPos val="b"/>
        <c:numFmt formatCode="0.00%" sourceLinked="1"/>
        <c:majorTickMark val="out"/>
        <c:minorTickMark val="none"/>
        <c:tickLblPos val="nextTo"/>
        <c:crossAx val="260147840"/>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16.11.2015</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91D65369-8E24-4680-A96B-5E6163E9F82C}" type="slidenum">
              <a:rPr lang="de-DE" smtClean="0">
                <a:solidFill>
                  <a:prstClr val="black"/>
                </a:solidFill>
              </a:rPr>
              <a:pPr/>
              <a:t>3</a:t>
            </a:fld>
            <a:endParaRPr lang="de-DE" dirty="0" smtClean="0">
              <a:solidFill>
                <a:prstClr val="black"/>
              </a:solidFill>
            </a:endParaRPr>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7</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9</a:t>
            </a:fld>
            <a:endParaRPr lang="de-DE" dirty="0">
              <a:solidFill>
                <a:srgbClr val="000000"/>
              </a:solidFill>
            </a:endParaRPr>
          </a:p>
        </p:txBody>
      </p:sp>
      <p:sp>
        <p:nvSpPr>
          <p:cNvPr id="29699" name="Rectangle 7"/>
          <p:cNvSpPr txBox="1">
            <a:spLocks noGrp="1" noChangeArrowheads="1"/>
          </p:cNvSpPr>
          <p:nvPr/>
        </p:nvSpPr>
        <p:spPr bwMode="auto">
          <a:xfrm>
            <a:off x="3885455" y="8686289"/>
            <a:ext cx="2972548" cy="457712"/>
          </a:xfrm>
          <a:prstGeom prst="rect">
            <a:avLst/>
          </a:prstGeom>
          <a:noFill/>
          <a:ln w="9525">
            <a:noFill/>
            <a:miter lim="800000"/>
            <a:headEnd/>
            <a:tailEnd/>
          </a:ln>
        </p:spPr>
        <p:txBody>
          <a:bodyPr lIns="91494" tIns="45748" rIns="91494" bIns="45748"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9</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3550" y="457200"/>
            <a:ext cx="5927725" cy="4103688"/>
          </a:xfrm>
          <a:ln/>
        </p:spPr>
      </p:sp>
      <p:sp>
        <p:nvSpPr>
          <p:cNvPr id="29701" name="Rectangle 3"/>
          <p:cNvSpPr>
            <a:spLocks noGrp="1" noChangeArrowheads="1"/>
          </p:cNvSpPr>
          <p:nvPr>
            <p:ph type="body" idx="1"/>
          </p:nvPr>
        </p:nvSpPr>
        <p:spPr>
          <a:xfrm>
            <a:off x="685485" y="4561036"/>
            <a:ext cx="5487041" cy="4116482"/>
          </a:xfrm>
          <a:noFill/>
          <a:ln/>
        </p:spPr>
        <p:txBody>
          <a:bodyPr/>
          <a:lstStyle/>
          <a:p>
            <a:pPr eaLnBrk="1" hangingPunct="1"/>
            <a:endParaRPr lang="de-CH"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9" name="Rectangle 2"/>
          <p:cNvSpPr>
            <a:spLocks noGrp="1" noRot="1" noChangeAspect="1" noChangeArrowheads="1" noTextEdit="1"/>
          </p:cNvSpPr>
          <p:nvPr>
            <p:ph type="sldImg"/>
          </p:nvPr>
        </p:nvSpPr>
        <p:spPr>
          <a:ln/>
        </p:spPr>
      </p:sp>
      <p:sp>
        <p:nvSpPr>
          <p:cNvPr id="9114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84065" y="8685048"/>
            <a:ext cx="2972335" cy="457493"/>
          </a:xfrm>
          <a:prstGeom prst="rect">
            <a:avLst/>
          </a:prstGeom>
          <a:noFill/>
          <a:ln w="9525">
            <a:noFill/>
            <a:miter lim="800000"/>
            <a:headEnd/>
            <a:tailEnd/>
          </a:ln>
        </p:spPr>
        <p:txBody>
          <a:bodyPr anchor="b"/>
          <a:lstStyle/>
          <a:p>
            <a:pPr algn="r">
              <a:spcBef>
                <a:spcPct val="0"/>
              </a:spcBef>
            </a:pPr>
            <a:fld id="{C7290348-950D-4A40-BFD8-75C8DCFB4773}" type="slidenum">
              <a:rPr lang="de-DE" sz="1200" b="0">
                <a:solidFill>
                  <a:prstClr val="black"/>
                </a:solidFill>
                <a:cs typeface="Arial" charset="0"/>
              </a:rPr>
              <a:pPr algn="r">
                <a:spcBef>
                  <a:spcPct val="0"/>
                </a:spcBef>
              </a:pPr>
              <a:t>11</a:t>
            </a:fld>
            <a:endParaRPr lang="de-DE" sz="1200" b="0" dirty="0">
              <a:solidFill>
                <a:prstClr val="black"/>
              </a:solidFill>
              <a:cs typeface="Arial" charset="0"/>
            </a:endParaRPr>
          </a:p>
        </p:txBody>
      </p:sp>
      <p:sp>
        <p:nvSpPr>
          <p:cNvPr id="46083" name="Slide Image Placeholder 1"/>
          <p:cNvSpPr>
            <a:spLocks noGrp="1" noRot="1" noChangeAspect="1" noTextEdit="1"/>
          </p:cNvSpPr>
          <p:nvPr>
            <p:ph type="sldImg"/>
          </p:nvPr>
        </p:nvSpPr>
        <p:spPr>
          <a:ln/>
        </p:spPr>
      </p:sp>
      <p:sp>
        <p:nvSpPr>
          <p:cNvPr id="46084" name="Notes Placeholder 2"/>
          <p:cNvSpPr>
            <a:spLocks noGrp="1"/>
          </p:cNvSpPr>
          <p:nvPr>
            <p:ph type="body" idx="1"/>
          </p:nvPr>
        </p:nvSpPr>
        <p:spPr>
          <a:xfrm>
            <a:off x="914936" y="4343988"/>
            <a:ext cx="5028131" cy="4114509"/>
          </a:xfrm>
          <a:noFill/>
          <a:ln/>
        </p:spPr>
        <p:txBody>
          <a:bodyPr/>
          <a:lstStyle/>
          <a:p>
            <a:pPr eaLnBrk="1" hangingPunct="1"/>
            <a:endParaRPr lang="en-US" dirty="0" smtClean="0"/>
          </a:p>
        </p:txBody>
      </p:sp>
      <p:sp>
        <p:nvSpPr>
          <p:cNvPr id="46085" name="Slide Number Placeholder 3"/>
          <p:cNvSpPr txBox="1">
            <a:spLocks noGrp="1"/>
          </p:cNvSpPr>
          <p:nvPr/>
        </p:nvSpPr>
        <p:spPr bwMode="auto">
          <a:xfrm>
            <a:off x="3885666" y="8686510"/>
            <a:ext cx="2972334" cy="457491"/>
          </a:xfrm>
          <a:prstGeom prst="rect">
            <a:avLst/>
          </a:prstGeom>
          <a:noFill/>
          <a:ln w="9525">
            <a:noFill/>
            <a:miter lim="800000"/>
            <a:headEnd/>
            <a:tailEnd/>
          </a:ln>
        </p:spPr>
        <p:txBody>
          <a:bodyPr anchor="b"/>
          <a:lstStyle/>
          <a:p>
            <a:pPr algn="r" eaLnBrk="0" hangingPunct="0">
              <a:spcBef>
                <a:spcPct val="0"/>
              </a:spcBef>
            </a:pPr>
            <a:fld id="{99868DBA-5EA7-4DDB-B474-8A2272AB207C}" type="slidenum">
              <a:rPr lang="de-DE" sz="1200" b="0">
                <a:solidFill>
                  <a:prstClr val="black"/>
                </a:solidFill>
                <a:ea typeface="ＭＳ Ｐゴシック" pitchFamily="34" charset="-128"/>
                <a:cs typeface="Arial" charset="0"/>
              </a:rPr>
              <a:pPr algn="r" eaLnBrk="0" hangingPunct="0">
                <a:spcBef>
                  <a:spcPct val="0"/>
                </a:spcBef>
              </a:pPr>
              <a:t>11</a:t>
            </a:fld>
            <a:endParaRPr lang="de-DE" sz="1200" b="0" dirty="0">
              <a:solidFill>
                <a:prstClr val="black"/>
              </a:solidFill>
              <a:ea typeface="ＭＳ Ｐゴシック" pitchFamily="34" charset="-128"/>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2845495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4466695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5361832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8288779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4620641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8524770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25525876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543260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1229526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4851498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394090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7829462"/>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87798222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130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459961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93241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7204238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5216074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9768150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1694318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438202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8759280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82047477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1801320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300557234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13855503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6418852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71818570"/>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4875814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229368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167296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538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24026357"/>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2429984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3016418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83761270"/>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83731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082153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99761232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6135192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996804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0886512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23673457"/>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04703469"/>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05933697"/>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90465216"/>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5365728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8005835"/>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191554498"/>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4019858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6834485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641347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23683973"/>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8106423"/>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4577409"/>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87113799"/>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08393383"/>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44434519"/>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6272788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60057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462136358"/>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57048222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312391679"/>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896717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72006744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253211181"/>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6567695"/>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62883190"/>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9250155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387851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17715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35048851"/>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2845467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5931300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56734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66703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1411899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59503369"/>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53504008"/>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13607238"/>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04970774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02899945"/>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19892003"/>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195587492"/>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0680912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41450265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237225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8505999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27058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21951860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899164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214985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70786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14337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930389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57126724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2127216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6890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87627476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75191127"/>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1392622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2337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32201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942961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1036125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02826331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8066441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230302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557608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43617771"/>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87916028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478036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437433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jpe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63" Type="http://schemas.openxmlformats.org/officeDocument/2006/relationships/image" Target="../media/image1.jpeg"/><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theme" Target="../theme/theme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61" Type="http://schemas.openxmlformats.org/officeDocument/2006/relationships/slideLayout" Target="../slideLayouts/slideLayout123.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slideLayout" Target="../slideLayouts/slideLayout12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slideLayout" Target="../slideLayouts/slideLayout118.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slideLayout" Target="../slideLayouts/slideLayout1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50" Type="http://schemas.openxmlformats.org/officeDocument/2006/relationships/slideLayout" Target="../slideLayouts/slideLayout173.xml"/><Relationship Id="rId55" Type="http://schemas.openxmlformats.org/officeDocument/2006/relationships/slideLayout" Target="../slideLayouts/slideLayout178.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slideLayout" Target="../slideLayouts/slideLayout164.xml"/><Relationship Id="rId54" Type="http://schemas.openxmlformats.org/officeDocument/2006/relationships/slideLayout" Target="../slideLayouts/slideLayout177.xml"/><Relationship Id="rId62" Type="http://schemas.openxmlformats.org/officeDocument/2006/relationships/image" Target="../media/image1.jpe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slideLayout" Target="../slideLayouts/slideLayout181.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slideLayout" Target="../slideLayouts/slideLayout180.xml"/><Relationship Id="rId61" Type="http://schemas.openxmlformats.org/officeDocument/2006/relationships/theme" Target="../theme/theme3.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slideLayout" Target="../slideLayouts/slideLayout18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slideLayout" Target="../slideLayouts/slideLayout179.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4"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 id="2147484133" r:id="rId23"/>
    <p:sldLayoutId id="2147484134" r:id="rId24"/>
    <p:sldLayoutId id="2147484135" r:id="rId25"/>
    <p:sldLayoutId id="2147484136" r:id="rId26"/>
    <p:sldLayoutId id="2147483889" r:id="rId27"/>
    <p:sldLayoutId id="2147483663" r:id="rId28"/>
    <p:sldLayoutId id="2147483667" r:id="rId29"/>
    <p:sldLayoutId id="2147483677" r:id="rId30"/>
    <p:sldLayoutId id="2147483678" r:id="rId31"/>
    <p:sldLayoutId id="2147483784" r:id="rId32"/>
    <p:sldLayoutId id="2147483785" r:id="rId33"/>
    <p:sldLayoutId id="2147483786" r:id="rId34"/>
    <p:sldLayoutId id="2147483787" r:id="rId35"/>
    <p:sldLayoutId id="2147483825" r:id="rId36"/>
    <p:sldLayoutId id="2147483826" r:id="rId37"/>
    <p:sldLayoutId id="2147483827" r:id="rId38"/>
    <p:sldLayoutId id="2147483828" r:id="rId39"/>
    <p:sldLayoutId id="2147483829" r:id="rId40"/>
    <p:sldLayoutId id="2147483830" r:id="rId41"/>
    <p:sldLayoutId id="2147483831" r:id="rId42"/>
    <p:sldLayoutId id="2147483832" r:id="rId43"/>
    <p:sldLayoutId id="2147483850" r:id="rId44"/>
    <p:sldLayoutId id="2147483851" r:id="rId45"/>
    <p:sldLayoutId id="2147483852" r:id="rId46"/>
    <p:sldLayoutId id="2147483853" r:id="rId47"/>
    <p:sldLayoutId id="2147483854" r:id="rId48"/>
    <p:sldLayoutId id="2147483855" r:id="rId49"/>
    <p:sldLayoutId id="2147483856" r:id="rId50"/>
    <p:sldLayoutId id="2147483857" r:id="rId51"/>
    <p:sldLayoutId id="2147483858" r:id="rId52"/>
    <p:sldLayoutId id="2147483860" r:id="rId53"/>
    <p:sldLayoutId id="2147483861" r:id="rId54"/>
    <p:sldLayoutId id="2147483908" r:id="rId55"/>
    <p:sldLayoutId id="2147483909" r:id="rId56"/>
    <p:sldLayoutId id="2147483910" r:id="rId57"/>
    <p:sldLayoutId id="2147483911" r:id="rId58"/>
    <p:sldLayoutId id="2147483912" r:id="rId59"/>
    <p:sldLayoutId id="2147483913" r:id="rId60"/>
    <p:sldLayoutId id="2147483914" r:id="rId61"/>
    <p:sldLayoutId id="2147483915" r:id="rId62"/>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3"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366459260"/>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 id="2147484159" r:id="rId22"/>
    <p:sldLayoutId id="2147484160" r:id="rId23"/>
    <p:sldLayoutId id="2147484161" r:id="rId24"/>
    <p:sldLayoutId id="2147484162" r:id="rId25"/>
    <p:sldLayoutId id="2147484224"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2"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633097039"/>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0" r:id="rId17"/>
    <p:sldLayoutId id="2147484181" r:id="rId18"/>
    <p:sldLayoutId id="2147484182" r:id="rId19"/>
    <p:sldLayoutId id="2147484183" r:id="rId20"/>
    <p:sldLayoutId id="2147484184" r:id="rId21"/>
    <p:sldLayoutId id="2147484185" r:id="rId22"/>
    <p:sldLayoutId id="2147484186" r:id="rId23"/>
    <p:sldLayoutId id="2147484187" r:id="rId24"/>
    <p:sldLayoutId id="2147484188" r:id="rId25"/>
    <p:sldLayoutId id="2147484189" r:id="rId26"/>
    <p:sldLayoutId id="2147484190" r:id="rId27"/>
    <p:sldLayoutId id="2147484191" r:id="rId28"/>
    <p:sldLayoutId id="2147484192" r:id="rId29"/>
    <p:sldLayoutId id="2147484193" r:id="rId30"/>
    <p:sldLayoutId id="2147484194" r:id="rId31"/>
    <p:sldLayoutId id="2147484195" r:id="rId32"/>
    <p:sldLayoutId id="2147484196" r:id="rId33"/>
    <p:sldLayoutId id="2147484197" r:id="rId34"/>
    <p:sldLayoutId id="2147484198" r:id="rId35"/>
    <p:sldLayoutId id="2147484199" r:id="rId36"/>
    <p:sldLayoutId id="2147484200" r:id="rId37"/>
    <p:sldLayoutId id="2147484201" r:id="rId38"/>
    <p:sldLayoutId id="2147484202" r:id="rId39"/>
    <p:sldLayoutId id="2147484203" r:id="rId40"/>
    <p:sldLayoutId id="2147484204" r:id="rId41"/>
    <p:sldLayoutId id="2147484205" r:id="rId42"/>
    <p:sldLayoutId id="2147484206" r:id="rId43"/>
    <p:sldLayoutId id="2147484207" r:id="rId44"/>
    <p:sldLayoutId id="2147484208" r:id="rId45"/>
    <p:sldLayoutId id="2147484209" r:id="rId46"/>
    <p:sldLayoutId id="2147484210" r:id="rId47"/>
    <p:sldLayoutId id="2147484211" r:id="rId48"/>
    <p:sldLayoutId id="2147484212" r:id="rId49"/>
    <p:sldLayoutId id="2147484213" r:id="rId50"/>
    <p:sldLayoutId id="2147484214" r:id="rId51"/>
    <p:sldLayoutId id="2147484215" r:id="rId52"/>
    <p:sldLayoutId id="2147484216" r:id="rId53"/>
    <p:sldLayoutId id="2147484217" r:id="rId54"/>
    <p:sldLayoutId id="2147484218" r:id="rId55"/>
    <p:sldLayoutId id="2147484219" r:id="rId56"/>
    <p:sldLayoutId id="2147484220" r:id="rId57"/>
    <p:sldLayoutId id="2147484221" r:id="rId58"/>
    <p:sldLayoutId id="2147484222" r:id="rId59"/>
    <p:sldLayoutId id="2147484223" r:id="rId60"/>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67.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88.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5.xml"/></Relationships>
</file>

<file path=ppt/slides/_rels/slide9.xml.rels><?xml version="1.0" encoding="UTF-8" standalone="yes"?>
<Relationships xmlns="http://schemas.openxmlformats.org/package/2006/relationships"><Relationship Id="rId117" Type="http://schemas.openxmlformats.org/officeDocument/2006/relationships/tags" Target="../tags/tag122.xml"/><Relationship Id="rId299" Type="http://schemas.openxmlformats.org/officeDocument/2006/relationships/tags" Target="../tags/tag304.xml"/><Relationship Id="rId303" Type="http://schemas.openxmlformats.org/officeDocument/2006/relationships/tags" Target="../tags/tag308.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324" Type="http://schemas.openxmlformats.org/officeDocument/2006/relationships/tags" Target="../tags/tag329.xml"/><Relationship Id="rId345" Type="http://schemas.openxmlformats.org/officeDocument/2006/relationships/tags" Target="../tags/tag350.xml"/><Relationship Id="rId366" Type="http://schemas.openxmlformats.org/officeDocument/2006/relationships/tags" Target="../tags/tag371.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226" Type="http://schemas.openxmlformats.org/officeDocument/2006/relationships/tags" Target="../tags/tag231.xml"/><Relationship Id="rId247" Type="http://schemas.openxmlformats.org/officeDocument/2006/relationships/tags" Target="../tags/tag252.xml"/><Relationship Id="rId107" Type="http://schemas.openxmlformats.org/officeDocument/2006/relationships/tags" Target="../tags/tag112.xml"/><Relationship Id="rId268" Type="http://schemas.openxmlformats.org/officeDocument/2006/relationships/tags" Target="../tags/tag273.xml"/><Relationship Id="rId289" Type="http://schemas.openxmlformats.org/officeDocument/2006/relationships/tags" Target="../tags/tag294.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314" Type="http://schemas.openxmlformats.org/officeDocument/2006/relationships/tags" Target="../tags/tag319.xml"/><Relationship Id="rId335" Type="http://schemas.openxmlformats.org/officeDocument/2006/relationships/tags" Target="../tags/tag340.xml"/><Relationship Id="rId356" Type="http://schemas.openxmlformats.org/officeDocument/2006/relationships/tags" Target="../tags/tag361.xml"/><Relationship Id="rId377" Type="http://schemas.openxmlformats.org/officeDocument/2006/relationships/tags" Target="../tags/tag382.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tags" Target="../tags/tag221.xml"/><Relationship Id="rId237" Type="http://schemas.openxmlformats.org/officeDocument/2006/relationships/tags" Target="../tags/tag242.xml"/><Relationship Id="rId258" Type="http://schemas.openxmlformats.org/officeDocument/2006/relationships/tags" Target="../tags/tag263.xml"/><Relationship Id="rId279" Type="http://schemas.openxmlformats.org/officeDocument/2006/relationships/tags" Target="../tags/tag284.xml"/><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290" Type="http://schemas.openxmlformats.org/officeDocument/2006/relationships/tags" Target="../tags/tag295.xml"/><Relationship Id="rId304" Type="http://schemas.openxmlformats.org/officeDocument/2006/relationships/tags" Target="../tags/tag309.xml"/><Relationship Id="rId325" Type="http://schemas.openxmlformats.org/officeDocument/2006/relationships/tags" Target="../tags/tag330.xml"/><Relationship Id="rId346" Type="http://schemas.openxmlformats.org/officeDocument/2006/relationships/tags" Target="../tags/tag351.xml"/><Relationship Id="rId367" Type="http://schemas.openxmlformats.org/officeDocument/2006/relationships/tags" Target="../tags/tag372.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227" Type="http://schemas.openxmlformats.org/officeDocument/2006/relationships/tags" Target="../tags/tag232.xml"/><Relationship Id="rId248" Type="http://schemas.openxmlformats.org/officeDocument/2006/relationships/tags" Target="../tags/tag253.xml"/><Relationship Id="rId269" Type="http://schemas.openxmlformats.org/officeDocument/2006/relationships/tags" Target="../tags/tag274.xml"/><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280" Type="http://schemas.openxmlformats.org/officeDocument/2006/relationships/tags" Target="../tags/tag285.xml"/><Relationship Id="rId315" Type="http://schemas.openxmlformats.org/officeDocument/2006/relationships/tags" Target="../tags/tag320.xml"/><Relationship Id="rId336" Type="http://schemas.openxmlformats.org/officeDocument/2006/relationships/tags" Target="../tags/tag341.xml"/><Relationship Id="rId357" Type="http://schemas.openxmlformats.org/officeDocument/2006/relationships/tags" Target="../tags/tag362.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tags" Target="../tags/tag222.xml"/><Relationship Id="rId378" Type="http://schemas.openxmlformats.org/officeDocument/2006/relationships/tags" Target="../tags/tag383.xml"/><Relationship Id="rId6" Type="http://schemas.openxmlformats.org/officeDocument/2006/relationships/tags" Target="../tags/tag11.xml"/><Relationship Id="rId238" Type="http://schemas.openxmlformats.org/officeDocument/2006/relationships/tags" Target="../tags/tag243.xml"/><Relationship Id="rId259" Type="http://schemas.openxmlformats.org/officeDocument/2006/relationships/tags" Target="../tags/tag264.xml"/><Relationship Id="rId23" Type="http://schemas.openxmlformats.org/officeDocument/2006/relationships/tags" Target="../tags/tag28.xml"/><Relationship Id="rId119" Type="http://schemas.openxmlformats.org/officeDocument/2006/relationships/tags" Target="../tags/tag124.xml"/><Relationship Id="rId270" Type="http://schemas.openxmlformats.org/officeDocument/2006/relationships/tags" Target="../tags/tag275.xml"/><Relationship Id="rId291" Type="http://schemas.openxmlformats.org/officeDocument/2006/relationships/tags" Target="../tags/tag296.xml"/><Relationship Id="rId305" Type="http://schemas.openxmlformats.org/officeDocument/2006/relationships/tags" Target="../tags/tag310.xml"/><Relationship Id="rId326" Type="http://schemas.openxmlformats.org/officeDocument/2006/relationships/tags" Target="../tags/tag331.xml"/><Relationship Id="rId347" Type="http://schemas.openxmlformats.org/officeDocument/2006/relationships/tags" Target="../tags/tag352.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368" Type="http://schemas.openxmlformats.org/officeDocument/2006/relationships/tags" Target="../tags/tag373.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228" Type="http://schemas.openxmlformats.org/officeDocument/2006/relationships/tags" Target="../tags/tag233.xml"/><Relationship Id="rId249" Type="http://schemas.openxmlformats.org/officeDocument/2006/relationships/tags" Target="../tags/tag254.xml"/><Relationship Id="rId13" Type="http://schemas.openxmlformats.org/officeDocument/2006/relationships/tags" Target="../tags/tag18.xml"/><Relationship Id="rId109" Type="http://schemas.openxmlformats.org/officeDocument/2006/relationships/tags" Target="../tags/tag114.xml"/><Relationship Id="rId260" Type="http://schemas.openxmlformats.org/officeDocument/2006/relationships/tags" Target="../tags/tag265.xml"/><Relationship Id="rId281" Type="http://schemas.openxmlformats.org/officeDocument/2006/relationships/tags" Target="../tags/tag286.xml"/><Relationship Id="rId316" Type="http://schemas.openxmlformats.org/officeDocument/2006/relationships/tags" Target="../tags/tag321.xml"/><Relationship Id="rId337" Type="http://schemas.openxmlformats.org/officeDocument/2006/relationships/tags" Target="../tags/tag342.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358" Type="http://schemas.openxmlformats.org/officeDocument/2006/relationships/tags" Target="../tags/tag363.xml"/><Relationship Id="rId379" Type="http://schemas.openxmlformats.org/officeDocument/2006/relationships/tags" Target="../tags/tag384.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tags" Target="../tags/tag223.xml"/><Relationship Id="rId239" Type="http://schemas.openxmlformats.org/officeDocument/2006/relationships/tags" Target="../tags/tag244.xml"/><Relationship Id="rId250" Type="http://schemas.openxmlformats.org/officeDocument/2006/relationships/tags" Target="../tags/tag255.xml"/><Relationship Id="rId271" Type="http://schemas.openxmlformats.org/officeDocument/2006/relationships/tags" Target="../tags/tag276.xml"/><Relationship Id="rId292" Type="http://schemas.openxmlformats.org/officeDocument/2006/relationships/tags" Target="../tags/tag297.xml"/><Relationship Id="rId306" Type="http://schemas.openxmlformats.org/officeDocument/2006/relationships/tags" Target="../tags/tag311.xml"/><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327" Type="http://schemas.openxmlformats.org/officeDocument/2006/relationships/tags" Target="../tags/tag332.xml"/><Relationship Id="rId348" Type="http://schemas.openxmlformats.org/officeDocument/2006/relationships/tags" Target="../tags/tag353.xml"/><Relationship Id="rId369" Type="http://schemas.openxmlformats.org/officeDocument/2006/relationships/tags" Target="../tags/tag374.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229" Type="http://schemas.openxmlformats.org/officeDocument/2006/relationships/tags" Target="../tags/tag234.xml"/><Relationship Id="rId380" Type="http://schemas.openxmlformats.org/officeDocument/2006/relationships/tags" Target="../tags/tag385.xml"/><Relationship Id="rId240" Type="http://schemas.openxmlformats.org/officeDocument/2006/relationships/tags" Target="../tags/tag245.xml"/><Relationship Id="rId261" Type="http://schemas.openxmlformats.org/officeDocument/2006/relationships/tags" Target="../tags/tag266.xml"/><Relationship Id="rId14" Type="http://schemas.openxmlformats.org/officeDocument/2006/relationships/tags" Target="../tags/tag19.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282" Type="http://schemas.openxmlformats.org/officeDocument/2006/relationships/tags" Target="../tags/tag287.xml"/><Relationship Id="rId317" Type="http://schemas.openxmlformats.org/officeDocument/2006/relationships/tags" Target="../tags/tag322.xml"/><Relationship Id="rId338" Type="http://schemas.openxmlformats.org/officeDocument/2006/relationships/tags" Target="../tags/tag343.xml"/><Relationship Id="rId359" Type="http://schemas.openxmlformats.org/officeDocument/2006/relationships/tags" Target="../tags/tag364.xml"/><Relationship Id="rId8" Type="http://schemas.openxmlformats.org/officeDocument/2006/relationships/tags" Target="../tags/tag13.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219" Type="http://schemas.openxmlformats.org/officeDocument/2006/relationships/tags" Target="../tags/tag224.xml"/><Relationship Id="rId370" Type="http://schemas.openxmlformats.org/officeDocument/2006/relationships/tags" Target="../tags/tag375.xml"/><Relationship Id="rId230" Type="http://schemas.openxmlformats.org/officeDocument/2006/relationships/tags" Target="../tags/tag235.xml"/><Relationship Id="rId251" Type="http://schemas.openxmlformats.org/officeDocument/2006/relationships/tags" Target="../tags/tag256.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272" Type="http://schemas.openxmlformats.org/officeDocument/2006/relationships/tags" Target="../tags/tag277.xml"/><Relationship Id="rId293" Type="http://schemas.openxmlformats.org/officeDocument/2006/relationships/tags" Target="../tags/tag298.xml"/><Relationship Id="rId307" Type="http://schemas.openxmlformats.org/officeDocument/2006/relationships/tags" Target="../tags/tag312.xml"/><Relationship Id="rId328" Type="http://schemas.openxmlformats.org/officeDocument/2006/relationships/tags" Target="../tags/tag333.xml"/><Relationship Id="rId349" Type="http://schemas.openxmlformats.org/officeDocument/2006/relationships/tags" Target="../tags/tag354.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95" Type="http://schemas.openxmlformats.org/officeDocument/2006/relationships/tags" Target="../tags/tag200.xml"/><Relationship Id="rId209" Type="http://schemas.openxmlformats.org/officeDocument/2006/relationships/tags" Target="../tags/tag214.xml"/><Relationship Id="rId360" Type="http://schemas.openxmlformats.org/officeDocument/2006/relationships/tags" Target="../tags/tag365.xml"/><Relationship Id="rId381" Type="http://schemas.openxmlformats.org/officeDocument/2006/relationships/tags" Target="../tags/tag386.xml"/><Relationship Id="rId220" Type="http://schemas.openxmlformats.org/officeDocument/2006/relationships/tags" Target="../tags/tag225.xml"/><Relationship Id="rId241" Type="http://schemas.openxmlformats.org/officeDocument/2006/relationships/tags" Target="../tags/tag246.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262" Type="http://schemas.openxmlformats.org/officeDocument/2006/relationships/tags" Target="../tags/tag267.xml"/><Relationship Id="rId283" Type="http://schemas.openxmlformats.org/officeDocument/2006/relationships/tags" Target="../tags/tag288.xml"/><Relationship Id="rId318" Type="http://schemas.openxmlformats.org/officeDocument/2006/relationships/tags" Target="../tags/tag323.xml"/><Relationship Id="rId339" Type="http://schemas.openxmlformats.org/officeDocument/2006/relationships/tags" Target="../tags/tag344.xml"/><Relationship Id="rId78" Type="http://schemas.openxmlformats.org/officeDocument/2006/relationships/tags" Target="../tags/tag83.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64" Type="http://schemas.openxmlformats.org/officeDocument/2006/relationships/tags" Target="../tags/tag169.xml"/><Relationship Id="rId185" Type="http://schemas.openxmlformats.org/officeDocument/2006/relationships/tags" Target="../tags/tag190.xml"/><Relationship Id="rId350" Type="http://schemas.openxmlformats.org/officeDocument/2006/relationships/tags" Target="../tags/tag355.xml"/><Relationship Id="rId371" Type="http://schemas.openxmlformats.org/officeDocument/2006/relationships/tags" Target="../tags/tag376.xml"/><Relationship Id="rId9" Type="http://schemas.openxmlformats.org/officeDocument/2006/relationships/tags" Target="../tags/tag14.xml"/><Relationship Id="rId210" Type="http://schemas.openxmlformats.org/officeDocument/2006/relationships/tags" Target="../tags/tag215.xml"/><Relationship Id="rId26" Type="http://schemas.openxmlformats.org/officeDocument/2006/relationships/tags" Target="../tags/tag31.xml"/><Relationship Id="rId231" Type="http://schemas.openxmlformats.org/officeDocument/2006/relationships/tags" Target="../tags/tag236.xml"/><Relationship Id="rId252" Type="http://schemas.openxmlformats.org/officeDocument/2006/relationships/tags" Target="../tags/tag257.xml"/><Relationship Id="rId273" Type="http://schemas.openxmlformats.org/officeDocument/2006/relationships/tags" Target="../tags/tag278.xml"/><Relationship Id="rId294" Type="http://schemas.openxmlformats.org/officeDocument/2006/relationships/tags" Target="../tags/tag299.xml"/><Relationship Id="rId308" Type="http://schemas.openxmlformats.org/officeDocument/2006/relationships/tags" Target="../tags/tag313.xml"/><Relationship Id="rId329" Type="http://schemas.openxmlformats.org/officeDocument/2006/relationships/tags" Target="../tags/tag334.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340" Type="http://schemas.openxmlformats.org/officeDocument/2006/relationships/tags" Target="../tags/tag345.xml"/><Relationship Id="rId361" Type="http://schemas.openxmlformats.org/officeDocument/2006/relationships/tags" Target="../tags/tag366.xml"/><Relationship Id="rId196" Type="http://schemas.openxmlformats.org/officeDocument/2006/relationships/tags" Target="../tags/tag201.xml"/><Relationship Id="rId200" Type="http://schemas.openxmlformats.org/officeDocument/2006/relationships/tags" Target="../tags/tag205.xml"/><Relationship Id="rId382" Type="http://schemas.openxmlformats.org/officeDocument/2006/relationships/slideLayout" Target="../slideLayouts/slideLayout67.xml"/><Relationship Id="rId16" Type="http://schemas.openxmlformats.org/officeDocument/2006/relationships/tags" Target="../tags/tag21.xml"/><Relationship Id="rId221" Type="http://schemas.openxmlformats.org/officeDocument/2006/relationships/tags" Target="../tags/tag226.xml"/><Relationship Id="rId242" Type="http://schemas.openxmlformats.org/officeDocument/2006/relationships/tags" Target="../tags/tag247.xml"/><Relationship Id="rId263" Type="http://schemas.openxmlformats.org/officeDocument/2006/relationships/tags" Target="../tags/tag268.xml"/><Relationship Id="rId284" Type="http://schemas.openxmlformats.org/officeDocument/2006/relationships/tags" Target="../tags/tag289.xml"/><Relationship Id="rId319" Type="http://schemas.openxmlformats.org/officeDocument/2006/relationships/tags" Target="../tags/tag324.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330" Type="http://schemas.openxmlformats.org/officeDocument/2006/relationships/tags" Target="../tags/tag335.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351" Type="http://schemas.openxmlformats.org/officeDocument/2006/relationships/tags" Target="../tags/tag356.xml"/><Relationship Id="rId372" Type="http://schemas.openxmlformats.org/officeDocument/2006/relationships/tags" Target="../tags/tag377.xml"/><Relationship Id="rId211" Type="http://schemas.openxmlformats.org/officeDocument/2006/relationships/tags" Target="../tags/tag216.xml"/><Relationship Id="rId232" Type="http://schemas.openxmlformats.org/officeDocument/2006/relationships/tags" Target="../tags/tag237.xml"/><Relationship Id="rId253" Type="http://schemas.openxmlformats.org/officeDocument/2006/relationships/tags" Target="../tags/tag258.xml"/><Relationship Id="rId274" Type="http://schemas.openxmlformats.org/officeDocument/2006/relationships/tags" Target="../tags/tag279.xml"/><Relationship Id="rId295" Type="http://schemas.openxmlformats.org/officeDocument/2006/relationships/tags" Target="../tags/tag300.xml"/><Relationship Id="rId309" Type="http://schemas.openxmlformats.org/officeDocument/2006/relationships/tags" Target="../tags/tag314.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320" Type="http://schemas.openxmlformats.org/officeDocument/2006/relationships/tags" Target="../tags/tag325.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341" Type="http://schemas.openxmlformats.org/officeDocument/2006/relationships/tags" Target="../tags/tag346.xml"/><Relationship Id="rId362" Type="http://schemas.openxmlformats.org/officeDocument/2006/relationships/tags" Target="../tags/tag367.xml"/><Relationship Id="rId383" Type="http://schemas.openxmlformats.org/officeDocument/2006/relationships/notesSlide" Target="../notesSlides/notesSlide3.xml"/><Relationship Id="rId201" Type="http://schemas.openxmlformats.org/officeDocument/2006/relationships/tags" Target="../tags/tag206.xml"/><Relationship Id="rId222" Type="http://schemas.openxmlformats.org/officeDocument/2006/relationships/tags" Target="../tags/tag227.xml"/><Relationship Id="rId243" Type="http://schemas.openxmlformats.org/officeDocument/2006/relationships/tags" Target="../tags/tag248.xml"/><Relationship Id="rId264" Type="http://schemas.openxmlformats.org/officeDocument/2006/relationships/tags" Target="../tags/tag269.xml"/><Relationship Id="rId285" Type="http://schemas.openxmlformats.org/officeDocument/2006/relationships/tags" Target="../tags/tag290.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310" Type="http://schemas.openxmlformats.org/officeDocument/2006/relationships/tags" Target="../tags/tag315.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331" Type="http://schemas.openxmlformats.org/officeDocument/2006/relationships/tags" Target="../tags/tag336.xml"/><Relationship Id="rId352" Type="http://schemas.openxmlformats.org/officeDocument/2006/relationships/tags" Target="../tags/tag357.xml"/><Relationship Id="rId373" Type="http://schemas.openxmlformats.org/officeDocument/2006/relationships/tags" Target="../tags/tag378.xml"/><Relationship Id="rId1" Type="http://schemas.openxmlformats.org/officeDocument/2006/relationships/tags" Target="../tags/tag6.xml"/><Relationship Id="rId212" Type="http://schemas.openxmlformats.org/officeDocument/2006/relationships/tags" Target="../tags/tag217.xml"/><Relationship Id="rId233" Type="http://schemas.openxmlformats.org/officeDocument/2006/relationships/tags" Target="../tags/tag238.xml"/><Relationship Id="rId254" Type="http://schemas.openxmlformats.org/officeDocument/2006/relationships/tags" Target="../tags/tag259.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275" Type="http://schemas.openxmlformats.org/officeDocument/2006/relationships/tags" Target="../tags/tag280.xml"/><Relationship Id="rId296" Type="http://schemas.openxmlformats.org/officeDocument/2006/relationships/tags" Target="../tags/tag301.xml"/><Relationship Id="rId300" Type="http://schemas.openxmlformats.org/officeDocument/2006/relationships/tags" Target="../tags/tag305.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321" Type="http://schemas.openxmlformats.org/officeDocument/2006/relationships/tags" Target="../tags/tag326.xml"/><Relationship Id="rId342" Type="http://schemas.openxmlformats.org/officeDocument/2006/relationships/tags" Target="../tags/tag347.xml"/><Relationship Id="rId363" Type="http://schemas.openxmlformats.org/officeDocument/2006/relationships/tags" Target="../tags/tag368.xml"/><Relationship Id="rId202" Type="http://schemas.openxmlformats.org/officeDocument/2006/relationships/tags" Target="../tags/tag207.xml"/><Relationship Id="rId223" Type="http://schemas.openxmlformats.org/officeDocument/2006/relationships/tags" Target="../tags/tag228.xml"/><Relationship Id="rId244" Type="http://schemas.openxmlformats.org/officeDocument/2006/relationships/tags" Target="../tags/tag249.xml"/><Relationship Id="rId18" Type="http://schemas.openxmlformats.org/officeDocument/2006/relationships/tags" Target="../tags/tag23.xml"/><Relationship Id="rId39" Type="http://schemas.openxmlformats.org/officeDocument/2006/relationships/tags" Target="../tags/tag44.xml"/><Relationship Id="rId265" Type="http://schemas.openxmlformats.org/officeDocument/2006/relationships/tags" Target="../tags/tag270.xml"/><Relationship Id="rId286" Type="http://schemas.openxmlformats.org/officeDocument/2006/relationships/tags" Target="../tags/tag291.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311" Type="http://schemas.openxmlformats.org/officeDocument/2006/relationships/tags" Target="../tags/tag316.xml"/><Relationship Id="rId332" Type="http://schemas.openxmlformats.org/officeDocument/2006/relationships/tags" Target="../tags/tag337.xml"/><Relationship Id="rId353" Type="http://schemas.openxmlformats.org/officeDocument/2006/relationships/tags" Target="../tags/tag358.xml"/><Relationship Id="rId374" Type="http://schemas.openxmlformats.org/officeDocument/2006/relationships/tags" Target="../tags/tag379.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34" Type="http://schemas.openxmlformats.org/officeDocument/2006/relationships/tags" Target="../tags/tag239.xml"/><Relationship Id="rId2" Type="http://schemas.openxmlformats.org/officeDocument/2006/relationships/tags" Target="../tags/tag7.xml"/><Relationship Id="rId29" Type="http://schemas.openxmlformats.org/officeDocument/2006/relationships/tags" Target="../tags/tag34.xml"/><Relationship Id="rId255" Type="http://schemas.openxmlformats.org/officeDocument/2006/relationships/tags" Target="../tags/tag260.xml"/><Relationship Id="rId276" Type="http://schemas.openxmlformats.org/officeDocument/2006/relationships/tags" Target="../tags/tag281.xml"/><Relationship Id="rId297" Type="http://schemas.openxmlformats.org/officeDocument/2006/relationships/tags" Target="../tags/tag302.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301" Type="http://schemas.openxmlformats.org/officeDocument/2006/relationships/tags" Target="../tags/tag306.xml"/><Relationship Id="rId322" Type="http://schemas.openxmlformats.org/officeDocument/2006/relationships/tags" Target="../tags/tag327.xml"/><Relationship Id="rId343" Type="http://schemas.openxmlformats.org/officeDocument/2006/relationships/tags" Target="../tags/tag348.xml"/><Relationship Id="rId364" Type="http://schemas.openxmlformats.org/officeDocument/2006/relationships/tags" Target="../tags/tag369.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 Id="rId224" Type="http://schemas.openxmlformats.org/officeDocument/2006/relationships/tags" Target="../tags/tag229.xml"/><Relationship Id="rId245" Type="http://schemas.openxmlformats.org/officeDocument/2006/relationships/tags" Target="../tags/tag250.xml"/><Relationship Id="rId266" Type="http://schemas.openxmlformats.org/officeDocument/2006/relationships/tags" Target="../tags/tag271.xml"/><Relationship Id="rId287" Type="http://schemas.openxmlformats.org/officeDocument/2006/relationships/tags" Target="../tags/tag292.xml"/><Relationship Id="rId30" Type="http://schemas.openxmlformats.org/officeDocument/2006/relationships/tags" Target="../tags/tag3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 Id="rId312" Type="http://schemas.openxmlformats.org/officeDocument/2006/relationships/tags" Target="../tags/tag317.xml"/><Relationship Id="rId333" Type="http://schemas.openxmlformats.org/officeDocument/2006/relationships/tags" Target="../tags/tag338.xml"/><Relationship Id="rId354" Type="http://schemas.openxmlformats.org/officeDocument/2006/relationships/tags" Target="../tags/tag359.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189" Type="http://schemas.openxmlformats.org/officeDocument/2006/relationships/tags" Target="../tags/tag194.xml"/><Relationship Id="rId375" Type="http://schemas.openxmlformats.org/officeDocument/2006/relationships/tags" Target="../tags/tag380.xml"/><Relationship Id="rId3" Type="http://schemas.openxmlformats.org/officeDocument/2006/relationships/tags" Target="../tags/tag8.xml"/><Relationship Id="rId214" Type="http://schemas.openxmlformats.org/officeDocument/2006/relationships/tags" Target="../tags/tag219.xml"/><Relationship Id="rId235" Type="http://schemas.openxmlformats.org/officeDocument/2006/relationships/tags" Target="../tags/tag240.xml"/><Relationship Id="rId256" Type="http://schemas.openxmlformats.org/officeDocument/2006/relationships/tags" Target="../tags/tag261.xml"/><Relationship Id="rId277" Type="http://schemas.openxmlformats.org/officeDocument/2006/relationships/tags" Target="../tags/tag282.xml"/><Relationship Id="rId298" Type="http://schemas.openxmlformats.org/officeDocument/2006/relationships/tags" Target="../tags/tag303.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302" Type="http://schemas.openxmlformats.org/officeDocument/2006/relationships/tags" Target="../tags/tag307.xml"/><Relationship Id="rId323" Type="http://schemas.openxmlformats.org/officeDocument/2006/relationships/tags" Target="../tags/tag328.xml"/><Relationship Id="rId344" Type="http://schemas.openxmlformats.org/officeDocument/2006/relationships/tags" Target="../tags/tag349.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179" Type="http://schemas.openxmlformats.org/officeDocument/2006/relationships/tags" Target="../tags/tag184.xml"/><Relationship Id="rId365" Type="http://schemas.openxmlformats.org/officeDocument/2006/relationships/tags" Target="../tags/tag370.xml"/><Relationship Id="rId190" Type="http://schemas.openxmlformats.org/officeDocument/2006/relationships/tags" Target="../tags/tag195.xml"/><Relationship Id="rId204" Type="http://schemas.openxmlformats.org/officeDocument/2006/relationships/tags" Target="../tags/tag209.xml"/><Relationship Id="rId225" Type="http://schemas.openxmlformats.org/officeDocument/2006/relationships/tags" Target="../tags/tag230.xml"/><Relationship Id="rId246" Type="http://schemas.openxmlformats.org/officeDocument/2006/relationships/tags" Target="../tags/tag251.xml"/><Relationship Id="rId267" Type="http://schemas.openxmlformats.org/officeDocument/2006/relationships/tags" Target="../tags/tag272.xml"/><Relationship Id="rId288" Type="http://schemas.openxmlformats.org/officeDocument/2006/relationships/tags" Target="../tags/tag293.xml"/><Relationship Id="rId106" Type="http://schemas.openxmlformats.org/officeDocument/2006/relationships/tags" Target="../tags/tag111.xml"/><Relationship Id="rId127" Type="http://schemas.openxmlformats.org/officeDocument/2006/relationships/tags" Target="../tags/tag132.xml"/><Relationship Id="rId313" Type="http://schemas.openxmlformats.org/officeDocument/2006/relationships/tags" Target="../tags/tag318.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94" Type="http://schemas.openxmlformats.org/officeDocument/2006/relationships/tags" Target="../tags/tag99.xml"/><Relationship Id="rId148" Type="http://schemas.openxmlformats.org/officeDocument/2006/relationships/tags" Target="../tags/tag153.xml"/><Relationship Id="rId169" Type="http://schemas.openxmlformats.org/officeDocument/2006/relationships/tags" Target="../tags/tag174.xml"/><Relationship Id="rId334" Type="http://schemas.openxmlformats.org/officeDocument/2006/relationships/tags" Target="../tags/tag339.xml"/><Relationship Id="rId355" Type="http://schemas.openxmlformats.org/officeDocument/2006/relationships/tags" Target="../tags/tag360.xml"/><Relationship Id="rId376" Type="http://schemas.openxmlformats.org/officeDocument/2006/relationships/tags" Target="../tags/tag381.xml"/><Relationship Id="rId4" Type="http://schemas.openxmlformats.org/officeDocument/2006/relationships/tags" Target="../tags/tag9.xml"/><Relationship Id="rId180" Type="http://schemas.openxmlformats.org/officeDocument/2006/relationships/tags" Target="../tags/tag185.xml"/><Relationship Id="rId215" Type="http://schemas.openxmlformats.org/officeDocument/2006/relationships/tags" Target="../tags/tag220.xml"/><Relationship Id="rId236" Type="http://schemas.openxmlformats.org/officeDocument/2006/relationships/tags" Target="../tags/tag241.xml"/><Relationship Id="rId257" Type="http://schemas.openxmlformats.org/officeDocument/2006/relationships/tags" Target="../tags/tag262.xml"/><Relationship Id="rId278" Type="http://schemas.openxmlformats.org/officeDocument/2006/relationships/tags" Target="../tags/tag2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6694" y="1337346"/>
            <a:ext cx="9159894" cy="233910"/>
          </a:xfrm>
        </p:spPr>
        <p:txBody>
          <a:bodyPr/>
          <a:lstStyle/>
          <a:p>
            <a:r>
              <a:rPr lang="en-US" dirty="0" smtClean="0"/>
              <a:t>December, 2014</a:t>
            </a:r>
            <a:endParaRPr lang="en-US" dirty="0"/>
          </a:p>
        </p:txBody>
      </p:sp>
      <p:sp>
        <p:nvSpPr>
          <p:cNvPr id="3" name="Title 2"/>
          <p:cNvSpPr>
            <a:spLocks noGrp="1"/>
          </p:cNvSpPr>
          <p:nvPr>
            <p:ph type="ctrTitle"/>
          </p:nvPr>
        </p:nvSpPr>
        <p:spPr/>
        <p:txBody>
          <a:bodyPr/>
          <a:lstStyle/>
          <a:p>
            <a:r>
              <a:rPr lang="en-US" dirty="0" smtClean="0"/>
              <a:t>EURO STOXX</a:t>
            </a:r>
            <a:r>
              <a:rPr lang="en-US" baseline="30000" dirty="0" smtClean="0"/>
              <a:t>®</a:t>
            </a:r>
            <a:r>
              <a:rPr lang="en-US" dirty="0" smtClean="0"/>
              <a:t> SELECT DIVIDEND 30 INDEX</a:t>
            </a:r>
            <a:r>
              <a:rPr lang="en-US" sz="1800" dirty="0"/>
              <a:t/>
            </a:r>
            <a:br>
              <a:rPr lang="en-US" sz="1800" dirty="0"/>
            </a:br>
            <a:endParaRPr lang="en-US" dirty="0"/>
          </a:p>
        </p:txBody>
      </p:sp>
    </p:spTree>
    <p:extLst>
      <p:ext uri="{BB962C8B-B14F-4D97-AF65-F5344CB8AC3E}">
        <p14:creationId xmlns:p14="http://schemas.microsoft.com/office/powerpoint/2010/main" val="14450605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en-US" dirty="0" smtClean="0"/>
              <a:t>References</a:t>
            </a:r>
            <a:endParaRPr lang="en-US" baseline="30000" dirty="0" smtClean="0"/>
          </a:p>
        </p:txBody>
      </p:sp>
      <p:sp>
        <p:nvSpPr>
          <p:cNvPr id="28" name="TextBox 27"/>
          <p:cNvSpPr txBox="1"/>
          <p:nvPr/>
        </p:nvSpPr>
        <p:spPr>
          <a:xfrm>
            <a:off x="9307298" y="6487889"/>
            <a:ext cx="527957" cy="175433"/>
          </a:xfrm>
          <a:prstGeom prst="rect">
            <a:avLst/>
          </a:prstGeom>
          <a:solidFill>
            <a:schemeClr val="bg1"/>
          </a:solidFill>
        </p:spPr>
        <p:txBody>
          <a:bodyPr wrap="square" lIns="0" tIns="0" rIns="0" bIns="0" rtlCol="0">
            <a:spAutoFit/>
          </a:bodyPr>
          <a:lstStyle/>
          <a:p>
            <a:pPr algn="l">
              <a:lnSpc>
                <a:spcPct val="95000"/>
              </a:lnSpc>
            </a:pPr>
            <a:r>
              <a:rPr lang="en-US" sz="1200" b="0" dirty="0" smtClean="0"/>
              <a:t> </a:t>
            </a:r>
            <a:fld id="{9713B8C3-2C6E-429C-B53D-6800F49006AC}" type="slidenum">
              <a:rPr lang="en-US" sz="1200" b="0" smtClean="0"/>
              <a:pPr algn="l">
                <a:lnSpc>
                  <a:spcPct val="95000"/>
                </a:lnSpc>
              </a:pPr>
              <a:t>10</a:t>
            </a:fld>
            <a:endParaRPr lang="en-US" sz="1200" b="0" dirty="0" smtClean="0"/>
          </a:p>
        </p:txBody>
      </p:sp>
      <p:sp>
        <p:nvSpPr>
          <p:cNvPr id="2" name="Rectangle 2"/>
          <p:cNvSpPr>
            <a:spLocks noChangeArrowheads="1"/>
          </p:cNvSpPr>
          <p:nvPr/>
        </p:nvSpPr>
        <p:spPr bwMode="auto">
          <a:xfrm>
            <a:off x="0" y="0"/>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11" name="Rectangle 4"/>
          <p:cNvSpPr>
            <a:spLocks noChangeArrowheads="1"/>
          </p:cNvSpPr>
          <p:nvPr/>
        </p:nvSpPr>
        <p:spPr bwMode="auto">
          <a:xfrm>
            <a:off x="368300" y="1540760"/>
            <a:ext cx="9155113" cy="4062069"/>
          </a:xfrm>
          <a:prstGeom prst="rect">
            <a:avLst/>
          </a:prstGeom>
          <a:noFill/>
          <a:ln w="9525">
            <a:noFill/>
            <a:miter lim="800000"/>
            <a:headEnd/>
            <a:tailEnd/>
          </a:ln>
        </p:spPr>
        <p:txBody>
          <a:bodyPr wrap="square" lIns="0" tIns="36000" rIns="0" bIns="0">
            <a:spAutoFit/>
          </a:bodyPr>
          <a:lstStyle/>
          <a:p>
            <a:pPr marL="190500" lvl="1" indent="-188913">
              <a:lnSpc>
                <a:spcPct val="80000"/>
              </a:lnSpc>
              <a:spcBef>
                <a:spcPct val="0"/>
              </a:spcBef>
              <a:spcAft>
                <a:spcPts val="600"/>
              </a:spcAft>
              <a:buFont typeface="Arial" charset="0"/>
              <a:buChar char="»"/>
            </a:pPr>
            <a:r>
              <a:rPr lang="en-US" sz="1400" dirty="0" smtClean="0"/>
              <a:t>Campbell</a:t>
            </a:r>
            <a:r>
              <a:rPr lang="en-US" sz="1400" dirty="0"/>
              <a:t>, J. and R. Shiller, The Dividend-Price Ratio and Expectations of Future Dividends and Discount Factors, Review of Financial Studies, 1, </a:t>
            </a:r>
            <a:r>
              <a:rPr lang="en-US" sz="1400" dirty="0" smtClean="0"/>
              <a:t>1988</a:t>
            </a:r>
            <a:endParaRPr lang="en-US" sz="1400" dirty="0"/>
          </a:p>
          <a:p>
            <a:pPr marL="190500" lvl="1" indent="-188913">
              <a:lnSpc>
                <a:spcPct val="80000"/>
              </a:lnSpc>
              <a:spcBef>
                <a:spcPct val="0"/>
              </a:spcBef>
              <a:spcAft>
                <a:spcPts val="600"/>
              </a:spcAft>
              <a:buFont typeface="Arial" charset="0"/>
              <a:buChar char="»"/>
            </a:pPr>
            <a:r>
              <a:rPr lang="en-US" sz="1400" dirty="0"/>
              <a:t>Campbell, J. and R. Shiller, Stock Prices, Earnings, and Expected Dividends, Journal of Finance, 43, </a:t>
            </a:r>
            <a:r>
              <a:rPr lang="en-US" sz="1400" dirty="0" smtClean="0"/>
              <a:t>1988</a:t>
            </a:r>
            <a:endParaRPr lang="en-US" sz="1400" dirty="0"/>
          </a:p>
          <a:p>
            <a:pPr marL="190500" lvl="1" indent="-188913">
              <a:lnSpc>
                <a:spcPct val="80000"/>
              </a:lnSpc>
              <a:spcBef>
                <a:spcPct val="0"/>
              </a:spcBef>
              <a:spcAft>
                <a:spcPts val="600"/>
              </a:spcAft>
              <a:buFont typeface="Arial" charset="0"/>
              <a:buChar char="»"/>
            </a:pPr>
            <a:r>
              <a:rPr lang="en-US" sz="1400" dirty="0"/>
              <a:t>Dickson, Henry Chip, and Charles L. </a:t>
            </a:r>
            <a:r>
              <a:rPr lang="en-US" sz="1400" dirty="0" err="1"/>
              <a:t>Reinhard</a:t>
            </a:r>
            <a:r>
              <a:rPr lang="en-US" sz="1400" dirty="0"/>
              <a:t>, Dividend Yield Screens, </a:t>
            </a:r>
            <a:r>
              <a:rPr lang="en-US" sz="1400" dirty="0" smtClean="0"/>
              <a:t>Portfolio Strategy</a:t>
            </a:r>
            <a:r>
              <a:rPr lang="en-US" sz="1400" dirty="0"/>
              <a:t>, Lehman Brothers Equity Research, September 26, </a:t>
            </a:r>
            <a:r>
              <a:rPr lang="en-US" sz="1400" dirty="0" smtClean="0"/>
              <a:t>2005</a:t>
            </a:r>
            <a:endParaRPr lang="en-US" sz="1400" dirty="0"/>
          </a:p>
          <a:p>
            <a:pPr marL="190500" lvl="1" indent="-188913">
              <a:lnSpc>
                <a:spcPct val="80000"/>
              </a:lnSpc>
              <a:spcBef>
                <a:spcPct val="0"/>
              </a:spcBef>
              <a:spcAft>
                <a:spcPts val="600"/>
              </a:spcAft>
              <a:buFont typeface="Arial" charset="0"/>
              <a:buChar char="»"/>
            </a:pPr>
            <a:r>
              <a:rPr lang="en-US" sz="1400" dirty="0" err="1"/>
              <a:t>Dimson</a:t>
            </a:r>
            <a:r>
              <a:rPr lang="en-US" sz="1400" dirty="0"/>
              <a:t>, Elroy, Paul Marsh, and Mike Staunton, Triumph of the </a:t>
            </a:r>
            <a:r>
              <a:rPr lang="en-US" sz="1400" dirty="0" smtClean="0"/>
              <a:t>Optimists, Princeton </a:t>
            </a:r>
            <a:r>
              <a:rPr lang="en-US" sz="1400" dirty="0"/>
              <a:t>University Press, </a:t>
            </a:r>
            <a:r>
              <a:rPr lang="en-US" sz="1400" dirty="0" smtClean="0"/>
              <a:t>2002</a:t>
            </a:r>
          </a:p>
          <a:p>
            <a:pPr marL="190500" lvl="1" indent="-188913">
              <a:lnSpc>
                <a:spcPct val="80000"/>
              </a:lnSpc>
              <a:spcBef>
                <a:spcPct val="0"/>
              </a:spcBef>
              <a:spcAft>
                <a:spcPts val="600"/>
              </a:spcAft>
              <a:buFont typeface="Arial" charset="0"/>
              <a:buChar char="»"/>
            </a:pPr>
            <a:r>
              <a:rPr lang="en-US" sz="1400" dirty="0" smtClean="0"/>
              <a:t>Graham</a:t>
            </a:r>
            <a:r>
              <a:rPr lang="en-US" sz="1400" dirty="0"/>
              <a:t>, Benjamin, The Intelligent Investor, Fourth Revised Edition, </a:t>
            </a:r>
            <a:r>
              <a:rPr lang="en-US" sz="1400" dirty="0" smtClean="0"/>
              <a:t>Harper Business</a:t>
            </a:r>
            <a:r>
              <a:rPr lang="en-US" sz="1400" dirty="0"/>
              <a:t>, </a:t>
            </a:r>
            <a:r>
              <a:rPr lang="en-US" sz="1400" dirty="0" smtClean="0"/>
              <a:t>1973</a:t>
            </a:r>
            <a:endParaRPr lang="en-US" sz="1400" dirty="0"/>
          </a:p>
          <a:p>
            <a:pPr marL="190500" lvl="1" indent="-188913">
              <a:lnSpc>
                <a:spcPct val="80000"/>
              </a:lnSpc>
              <a:spcBef>
                <a:spcPct val="0"/>
              </a:spcBef>
              <a:spcAft>
                <a:spcPts val="600"/>
              </a:spcAft>
              <a:buFont typeface="Arial" charset="0"/>
              <a:buChar char="»"/>
            </a:pPr>
            <a:r>
              <a:rPr lang="en-US" sz="1400" dirty="0" err="1"/>
              <a:t>Keppler</a:t>
            </a:r>
            <a:r>
              <a:rPr lang="en-US" sz="1400" dirty="0"/>
              <a:t>, A. Michael, The Importance of Dividend Yields in Country </a:t>
            </a:r>
            <a:r>
              <a:rPr lang="en-US" sz="1400" dirty="0" smtClean="0"/>
              <a:t>Selection, Journal </a:t>
            </a:r>
            <a:r>
              <a:rPr lang="en-US" sz="1400" dirty="0"/>
              <a:t>of Portfolio Management, Winter, </a:t>
            </a:r>
            <a:r>
              <a:rPr lang="en-US" sz="1400" dirty="0" smtClean="0"/>
              <a:t>1991</a:t>
            </a:r>
            <a:endParaRPr lang="en-US" sz="1400" dirty="0"/>
          </a:p>
          <a:p>
            <a:pPr marL="190500" lvl="1" indent="-188913">
              <a:lnSpc>
                <a:spcPct val="80000"/>
              </a:lnSpc>
              <a:spcBef>
                <a:spcPct val="0"/>
              </a:spcBef>
              <a:spcAft>
                <a:spcPts val="600"/>
              </a:spcAft>
              <a:buFont typeface="Arial" charset="0"/>
              <a:buChar char="»"/>
            </a:pPr>
            <a:r>
              <a:rPr lang="en-US" sz="1400" dirty="0"/>
              <a:t>Levis, Mario, Stock Market Anomalies: A Reassessment Based on the UK </a:t>
            </a:r>
            <a:r>
              <a:rPr lang="en-US" sz="1400" dirty="0" smtClean="0"/>
              <a:t>Evidence, Journal </a:t>
            </a:r>
            <a:r>
              <a:rPr lang="en-US" sz="1400" dirty="0"/>
              <a:t>of Banking and Finance, 13, </a:t>
            </a:r>
            <a:r>
              <a:rPr lang="en-US" sz="1400" dirty="0" smtClean="0"/>
              <a:t>1989</a:t>
            </a:r>
            <a:endParaRPr lang="en-US" sz="1400" dirty="0"/>
          </a:p>
          <a:p>
            <a:pPr marL="190500" lvl="1" indent="-188913">
              <a:lnSpc>
                <a:spcPct val="80000"/>
              </a:lnSpc>
              <a:spcBef>
                <a:spcPct val="0"/>
              </a:spcBef>
              <a:spcAft>
                <a:spcPts val="600"/>
              </a:spcAft>
              <a:buFont typeface="Arial" charset="0"/>
              <a:buChar char="»"/>
            </a:pPr>
            <a:r>
              <a:rPr lang="en-US" sz="1400" dirty="0" err="1"/>
              <a:t>Litzenberger</a:t>
            </a:r>
            <a:r>
              <a:rPr lang="en-US" sz="1400" dirty="0"/>
              <a:t>, Robert H., and Krishna </a:t>
            </a:r>
            <a:r>
              <a:rPr lang="en-US" sz="1400" dirty="0" err="1"/>
              <a:t>Ramaswamy</a:t>
            </a:r>
            <a:r>
              <a:rPr lang="en-US" sz="1400" dirty="0"/>
              <a:t>, The Effect of Personal Taxes </a:t>
            </a:r>
            <a:r>
              <a:rPr lang="en-US" sz="1400" dirty="0" smtClean="0"/>
              <a:t>and Dividends </a:t>
            </a:r>
            <a:r>
              <a:rPr lang="en-US" sz="1400" dirty="0"/>
              <a:t>on Capital Asset Prices, Journal of Financial Economics, </a:t>
            </a:r>
            <a:r>
              <a:rPr lang="en-US" sz="1400" dirty="0" smtClean="0"/>
              <a:t>1979</a:t>
            </a:r>
            <a:endParaRPr lang="en-US" sz="1400" dirty="0"/>
          </a:p>
          <a:p>
            <a:pPr marL="190500" lvl="1" indent="-188913">
              <a:lnSpc>
                <a:spcPct val="80000"/>
              </a:lnSpc>
              <a:spcBef>
                <a:spcPct val="0"/>
              </a:spcBef>
              <a:spcAft>
                <a:spcPts val="600"/>
              </a:spcAft>
              <a:buFont typeface="Arial" charset="0"/>
              <a:buChar char="»"/>
            </a:pPr>
            <a:r>
              <a:rPr lang="en-US" sz="1400" dirty="0" err="1"/>
              <a:t>Litzenberger</a:t>
            </a:r>
            <a:r>
              <a:rPr lang="en-US" sz="1400" dirty="0"/>
              <a:t>, Robert H. and Krishna </a:t>
            </a:r>
            <a:r>
              <a:rPr lang="en-US" sz="1400" dirty="0" err="1"/>
              <a:t>Ramaswamy</a:t>
            </a:r>
            <a:r>
              <a:rPr lang="en-US" sz="1400" dirty="0"/>
              <a:t>, The Effects of </a:t>
            </a:r>
            <a:r>
              <a:rPr lang="en-US" sz="1400" dirty="0" smtClean="0"/>
              <a:t>Dividends on </a:t>
            </a:r>
            <a:r>
              <a:rPr lang="en-US" sz="1400" dirty="0"/>
              <a:t>Common Stock Prices Tax Effects or Information Effects?, The Journal </a:t>
            </a:r>
            <a:r>
              <a:rPr lang="en-US" sz="1400" dirty="0" smtClean="0"/>
              <a:t>Of Finance</a:t>
            </a:r>
            <a:r>
              <a:rPr lang="en-US" sz="1400" dirty="0"/>
              <a:t>, Vol. XXXVII, No. 2, May </a:t>
            </a:r>
            <a:r>
              <a:rPr lang="en-US" sz="1400" dirty="0" smtClean="0"/>
              <a:t>1982</a:t>
            </a:r>
            <a:endParaRPr lang="en-US" sz="1400" dirty="0"/>
          </a:p>
          <a:p>
            <a:pPr marL="190500" lvl="1" indent="-188913">
              <a:lnSpc>
                <a:spcPct val="80000"/>
              </a:lnSpc>
              <a:spcBef>
                <a:spcPct val="0"/>
              </a:spcBef>
              <a:spcAft>
                <a:spcPts val="600"/>
              </a:spcAft>
              <a:buFont typeface="Arial" charset="0"/>
              <a:buChar char="»"/>
            </a:pPr>
            <a:r>
              <a:rPr lang="en-US" sz="1400" dirty="0"/>
              <a:t>O’Higgins, Michael B. and John </a:t>
            </a:r>
            <a:r>
              <a:rPr lang="en-US" sz="1400" dirty="0" err="1"/>
              <a:t>Downes</a:t>
            </a:r>
            <a:r>
              <a:rPr lang="en-US" sz="1400" dirty="0"/>
              <a:t>, Beating the Dow, HarperCollins </a:t>
            </a:r>
            <a:r>
              <a:rPr lang="en-US" sz="1400" dirty="0" smtClean="0"/>
              <a:t>2000</a:t>
            </a:r>
            <a:endParaRPr lang="en-US" sz="1400" dirty="0"/>
          </a:p>
          <a:p>
            <a:pPr marL="190500" lvl="1" indent="-188913" algn="l">
              <a:lnSpc>
                <a:spcPct val="80000"/>
              </a:lnSpc>
              <a:spcBef>
                <a:spcPct val="0"/>
              </a:spcBef>
              <a:spcAft>
                <a:spcPts val="600"/>
              </a:spcAft>
              <a:buFont typeface="Arial" charset="0"/>
              <a:buChar char="»"/>
            </a:pPr>
            <a:endParaRPr lang="en-US" sz="1400" b="0" dirty="0"/>
          </a:p>
          <a:p>
            <a:pPr marL="190500" lvl="1" indent="-188913" algn="l">
              <a:lnSpc>
                <a:spcPct val="80000"/>
              </a:lnSpc>
              <a:spcBef>
                <a:spcPct val="0"/>
              </a:spcBef>
              <a:spcAft>
                <a:spcPts val="600"/>
              </a:spcAft>
              <a:buFont typeface="Arial" charset="0"/>
              <a:buChar char="»"/>
            </a:pPr>
            <a:endParaRPr lang="en-US" sz="1400" b="0" dirty="0"/>
          </a:p>
        </p:txBody>
      </p:sp>
    </p:spTree>
    <p:extLst>
      <p:ext uri="{BB962C8B-B14F-4D97-AF65-F5344CB8AC3E}">
        <p14:creationId xmlns:p14="http://schemas.microsoft.com/office/powerpoint/2010/main" val="14259614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030" y="1338362"/>
            <a:ext cx="9175608" cy="1800493"/>
          </a:xfrm>
          <a:prstGeom prst="rect">
            <a:avLst/>
          </a:prstGeom>
          <a:noFill/>
        </p:spPr>
        <p:txBody>
          <a:bodyPr wrap="square" lIns="0" tIns="0" rIns="0" bIns="0">
            <a:spAutoFit/>
          </a:bodyPr>
          <a:lstStyle/>
          <a:p>
            <a:pPr algn="l">
              <a:spcBef>
                <a:spcPct val="0"/>
              </a:spcBef>
              <a:defRPr/>
            </a:pPr>
            <a:r>
              <a:rPr lang="en-US" sz="1200" b="0" dirty="0">
                <a:solidFill>
                  <a:srgbClr val="000000"/>
                </a:solidFill>
                <a:cs typeface="Arial" charset="0"/>
              </a:rPr>
              <a:t>The indices in the presentation and the trademarks used in the index names are the intellectual property of STOXX </a:t>
            </a:r>
            <a:r>
              <a:rPr lang="en-US" sz="1200" b="0" dirty="0" smtClean="0">
                <a:solidFill>
                  <a:srgbClr val="000000"/>
                </a:solidFill>
                <a:cs typeface="Arial" charset="0"/>
              </a:rPr>
              <a:t>Ltd. or </a:t>
            </a:r>
            <a:r>
              <a:rPr lang="en-US" sz="1200" b="0" dirty="0">
                <a:solidFill>
                  <a:srgbClr val="000000"/>
                </a:solidFill>
                <a:cs typeface="Arial" charset="0"/>
              </a:rPr>
              <a:t>SIX </a:t>
            </a:r>
            <a:r>
              <a:rPr lang="en-US" sz="1200" b="0" dirty="0" smtClean="0">
                <a:solidFill>
                  <a:srgbClr val="000000"/>
                </a:solidFill>
                <a:cs typeface="Arial" charset="0"/>
              </a:rPr>
              <a:t>AG or </a:t>
            </a:r>
            <a:r>
              <a:rPr lang="en-US" sz="1200" b="0" dirty="0">
                <a:solidFill>
                  <a:srgbClr val="000000"/>
                </a:solidFill>
                <a:cs typeface="Arial" charset="0"/>
              </a:rPr>
              <a:t>Deutsche </a:t>
            </a:r>
            <a:r>
              <a:rPr lang="en-US" sz="1200" b="0" dirty="0" smtClean="0">
                <a:solidFill>
                  <a:srgbClr val="000000"/>
                </a:solidFill>
                <a:cs typeface="Arial" charset="0"/>
              </a:rPr>
              <a:t>Boerse </a:t>
            </a:r>
            <a:r>
              <a:rPr lang="en-US" sz="1200" b="0" dirty="0">
                <a:solidFill>
                  <a:srgbClr val="000000"/>
                </a:solidFill>
                <a:cs typeface="Arial" charset="0"/>
              </a:rPr>
              <a:t>AG. </a:t>
            </a:r>
            <a:endParaRPr lang="en-US" sz="1200" b="0" dirty="0">
              <a:solidFill>
                <a:srgbClr val="000000"/>
              </a:solidFill>
              <a:latin typeface="Arial"/>
              <a:cs typeface="Arial" charset="0"/>
            </a:endParaRPr>
          </a:p>
          <a:p>
            <a:pPr algn="l">
              <a:spcBef>
                <a:spcPct val="0"/>
              </a:spcBef>
              <a:defRPr/>
            </a:pPr>
            <a:r>
              <a:rPr lang="en-US" sz="1200" b="0" dirty="0">
                <a:solidFill>
                  <a:srgbClr val="000000"/>
                </a:solidFill>
                <a:latin typeface="Arial"/>
                <a:cs typeface="Arial" charset="0"/>
              </a:rPr>
              <a:t>The use of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a:t> </a:t>
            </a:r>
            <a:r>
              <a:rPr lang="en-US" sz="1200" b="0" baseline="30000" dirty="0" smtClean="0"/>
              <a:t>®</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and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nd of the respective index data for financial products or for other purposes requires a license from STOXX, Deutsche </a:t>
            </a:r>
            <a:r>
              <a:rPr lang="en-US" sz="1200" b="0" dirty="0" smtClean="0">
                <a:solidFill>
                  <a:srgbClr val="000000"/>
                </a:solidFill>
                <a:latin typeface="Arial"/>
                <a:cs typeface="Arial" charset="0"/>
              </a:rPr>
              <a:t>Boerse</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IX. </a:t>
            </a:r>
            <a:r>
              <a:rPr lang="en-US" sz="1200" b="0" dirty="0">
                <a:solidFill>
                  <a:srgbClr val="000000"/>
                </a:solidFill>
                <a:latin typeface="Arial"/>
                <a:cs typeface="Arial" charset="0"/>
              </a:rPr>
              <a:t>STOXX and its owners do not make any warranties or representations, express or implied, with respect to the timeliness, sequence, accuracy, completeness, currentness, </a:t>
            </a:r>
            <a:r>
              <a:rPr lang="en-US" sz="1200" b="0" dirty="0" smtClean="0">
                <a:solidFill>
                  <a:srgbClr val="000000"/>
                </a:solidFill>
                <a:latin typeface="Arial"/>
                <a:cs typeface="Arial" charset="0"/>
              </a:rPr>
              <a:t>merchantability</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quality or </a:t>
            </a:r>
            <a:r>
              <a:rPr lang="en-US" sz="1200" b="0" dirty="0">
                <a:solidFill>
                  <a:srgbClr val="000000"/>
                </a:solidFill>
                <a:latin typeface="Arial"/>
                <a:cs typeface="Arial" charset="0"/>
              </a:rPr>
              <a:t>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smtClean="0"/>
              <a:t>®</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re in no way sponsored, endorsed, </a:t>
            </a:r>
            <a:r>
              <a:rPr lang="en-US" sz="1200" b="0" dirty="0" smtClean="0">
                <a:solidFill>
                  <a:srgbClr val="000000"/>
                </a:solidFill>
                <a:latin typeface="Arial"/>
                <a:cs typeface="Arial" charset="0"/>
              </a:rPr>
              <a:t>sold or </a:t>
            </a:r>
            <a:r>
              <a:rPr lang="en-US" sz="1200" b="0" dirty="0">
                <a:solidFill>
                  <a:srgbClr val="000000"/>
                </a:solidFill>
                <a:latin typeface="Arial"/>
                <a:cs typeface="Arial" charset="0"/>
              </a:rPr>
              <a:t>promoted by STOXX or its owners</a:t>
            </a:r>
            <a:r>
              <a:rPr lang="en-US" sz="900" b="0" dirty="0">
                <a:solidFill>
                  <a:srgbClr val="000000"/>
                </a:solidFill>
                <a:cs typeface="Arial" charset="0"/>
              </a:rPr>
              <a:t>.</a:t>
            </a:r>
          </a:p>
          <a:p>
            <a:pPr algn="l">
              <a:spcBef>
                <a:spcPct val="0"/>
              </a:spcBef>
              <a:defRPr/>
            </a:pPr>
            <a:endParaRPr lang="en-US" sz="900" b="0" dirty="0">
              <a:solidFill>
                <a:srgbClr val="000000"/>
              </a:solidFill>
              <a:cs typeface="Arial" charset="0"/>
            </a:endParaRPr>
          </a:p>
        </p:txBody>
      </p:sp>
      <p:sp>
        <p:nvSpPr>
          <p:cNvPr id="30722" name="Title 1"/>
          <p:cNvSpPr>
            <a:spLocks noGrp="1"/>
          </p:cNvSpPr>
          <p:nvPr>
            <p:ph type="title"/>
          </p:nvPr>
        </p:nvSpPr>
        <p:spPr/>
        <p:txBody>
          <a:bodyPr anchor="t" anchorCtr="0"/>
          <a:lstStyle/>
          <a:p>
            <a:pPr eaLnBrk="1" hangingPunct="1"/>
            <a:r>
              <a:rPr lang="en-US" dirty="0" smtClean="0"/>
              <a:t>Disclaimer</a:t>
            </a:r>
          </a:p>
        </p:txBody>
      </p:sp>
      <p:sp>
        <p:nvSpPr>
          <p:cNvPr id="30723" name="Content Placeholder 2"/>
          <p:cNvSpPr>
            <a:spLocks noGrp="1"/>
          </p:cNvSpPr>
          <p:nvPr>
            <p:ph type="body" sz="quarter" idx="10"/>
          </p:nvPr>
        </p:nvSpPr>
        <p:spPr>
          <a:xfrm>
            <a:off x="368300" y="4124325"/>
            <a:ext cx="9158288" cy="1692771"/>
          </a:xfrm>
        </p:spPr>
        <p:txBody>
          <a:bodyPr wrap="square" lIns="0" tIns="0" rIns="0" bIns="0">
            <a:spAutoFit/>
          </a:bodyPr>
          <a:lstStyle/>
          <a:p>
            <a:pPr marL="0" indent="0" eaLnBrk="1" hangingPunct="1">
              <a:lnSpc>
                <a:spcPct val="100000"/>
              </a:lnSpc>
              <a:spcBef>
                <a:spcPts val="0"/>
              </a:spcBef>
              <a:buNone/>
            </a:pPr>
            <a:r>
              <a:rPr lang="en-US" sz="1400" b="1" dirty="0" smtClean="0"/>
              <a:t>About STOXX</a:t>
            </a:r>
          </a:p>
          <a:p>
            <a:pPr marL="0" indent="0" eaLnBrk="1" hangingPunct="1">
              <a:lnSpc>
                <a:spcPct val="100000"/>
              </a:lnSpc>
              <a:spcBef>
                <a:spcPts val="0"/>
              </a:spcBef>
              <a:buNone/>
            </a:pPr>
            <a:r>
              <a:rPr lang="en-US" sz="1200" b="0" dirty="0" smtClean="0"/>
              <a:t>STOXX Ltd. is an established and leading index specialist, which started in Europe. The launch of the first STOXX</a:t>
            </a:r>
            <a:r>
              <a:rPr lang="en-US" sz="1200" b="0" baseline="30000" dirty="0" smtClean="0"/>
              <a:t>®</a:t>
            </a:r>
            <a:r>
              <a:rPr lang="en-US" sz="1200" b="0" dirty="0" smtClean="0"/>
              <a:t> indices in 1998, including the EURO STOXX 50</a:t>
            </a:r>
            <a:r>
              <a:rPr lang="en-US" sz="1200" b="0" baseline="30000" dirty="0" smtClean="0"/>
              <a:t>®</a:t>
            </a:r>
            <a:r>
              <a:rPr lang="en-US" sz="1200" b="0" dirty="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ts val="0"/>
              </a:spcBef>
              <a:buNone/>
            </a:pPr>
            <a:r>
              <a:rPr lang="en-US" sz="1200" b="0" dirty="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lang="en-US" sz="1200" b="0" baseline="30000" dirty="0" smtClean="0"/>
              <a:t>®</a:t>
            </a:r>
            <a:r>
              <a:rPr lang="en-US" sz="1200" b="0" dirty="0" smtClean="0"/>
              <a:t> and SMI</a:t>
            </a:r>
            <a:r>
              <a:rPr lang="en-US" sz="1200" b="0" baseline="30000" dirty="0" smtClean="0"/>
              <a:t>®</a:t>
            </a:r>
            <a:r>
              <a:rPr lang="en-US" sz="1200" b="0" dirty="0" smtClean="0"/>
              <a:t> indices.</a:t>
            </a:r>
          </a:p>
        </p:txBody>
      </p:sp>
    </p:spTree>
    <p:extLst>
      <p:ext uri="{BB962C8B-B14F-4D97-AF65-F5344CB8AC3E}">
        <p14:creationId xmlns:p14="http://schemas.microsoft.com/office/powerpoint/2010/main" val="38525919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9" name="Textplatzhalter 8"/>
          <p:cNvSpPr>
            <a:spLocks noGrp="1"/>
          </p:cNvSpPr>
          <p:nvPr>
            <p:ph type="body" sz="quarter" idx="10"/>
          </p:nvPr>
        </p:nvSpPr>
        <p:spPr/>
        <p:txBody>
          <a:bodyPr/>
          <a:lstStyle/>
          <a:p>
            <a:r>
              <a:rPr lang="en-US" dirty="0" smtClean="0"/>
              <a:t>Investment case	Page 3</a:t>
            </a:r>
          </a:p>
          <a:p>
            <a:r>
              <a:rPr lang="en-US" dirty="0" smtClean="0"/>
              <a:t>Methodology	Page </a:t>
            </a:r>
            <a:r>
              <a:rPr lang="en-US" dirty="0"/>
              <a:t>4</a:t>
            </a:r>
            <a:endParaRPr lang="en-US" dirty="0" smtClean="0"/>
          </a:p>
          <a:p>
            <a:r>
              <a:rPr lang="en-US" dirty="0" smtClean="0"/>
              <a:t>Risk and return overview	Page 5</a:t>
            </a:r>
            <a:endParaRPr lang="en-US" dirty="0"/>
          </a:p>
        </p:txBody>
      </p:sp>
    </p:spTree>
    <p:extLst>
      <p:ext uri="{BB962C8B-B14F-4D97-AF65-F5344CB8AC3E}">
        <p14:creationId xmlns:p14="http://schemas.microsoft.com/office/powerpoint/2010/main" val="13919250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smtClean="0"/>
              <a:t>Investment case</a:t>
            </a:r>
          </a:p>
        </p:txBody>
      </p:sp>
      <p:sp>
        <p:nvSpPr>
          <p:cNvPr id="37891" name="Rectangle 3"/>
          <p:cNvSpPr>
            <a:spLocks noChangeArrowheads="1"/>
          </p:cNvSpPr>
          <p:nvPr/>
        </p:nvSpPr>
        <p:spPr bwMode="auto">
          <a:xfrm>
            <a:off x="368300" y="2217738"/>
            <a:ext cx="4357688"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solidFill>
                  <a:prstClr val="black"/>
                </a:solidFill>
              </a:rPr>
              <a:t>In </a:t>
            </a:r>
            <a:r>
              <a:rPr lang="en-US" sz="1600" dirty="0">
                <a:solidFill>
                  <a:prstClr val="black"/>
                </a:solidFill>
              </a:rPr>
              <a:t>today’s </a:t>
            </a:r>
            <a:r>
              <a:rPr lang="en-US" sz="1600" b="1" dirty="0">
                <a:solidFill>
                  <a:prstClr val="black"/>
                </a:solidFill>
              </a:rPr>
              <a:t>low yield </a:t>
            </a:r>
            <a:r>
              <a:rPr lang="en-US" sz="1600" b="1" dirty="0" smtClean="0">
                <a:solidFill>
                  <a:prstClr val="black"/>
                </a:solidFill>
              </a:rPr>
              <a:t>environment </a:t>
            </a:r>
            <a:r>
              <a:rPr lang="en-US" sz="1600" dirty="0">
                <a:solidFill>
                  <a:prstClr val="black"/>
                </a:solidFill>
              </a:rPr>
              <a:t>investor preferences </a:t>
            </a:r>
            <a:r>
              <a:rPr lang="en-US" sz="1600" dirty="0" smtClean="0">
                <a:solidFill>
                  <a:prstClr val="black"/>
                </a:solidFill>
              </a:rPr>
              <a:t>are strongly </a:t>
            </a:r>
            <a:r>
              <a:rPr lang="en-US" sz="1600" dirty="0">
                <a:solidFill>
                  <a:prstClr val="black"/>
                </a:solidFill>
              </a:rPr>
              <a:t>tilt toward high dividend stocks which can boost </a:t>
            </a:r>
            <a:r>
              <a:rPr lang="en-US" sz="1600" dirty="0" smtClean="0">
                <a:solidFill>
                  <a:prstClr val="black"/>
                </a:solidFill>
              </a:rPr>
              <a:t>stock prices</a:t>
            </a:r>
            <a:endParaRPr lang="en-US" sz="1600" dirty="0" smtClean="0"/>
          </a:p>
        </p:txBody>
      </p:sp>
      <p:sp>
        <p:nvSpPr>
          <p:cNvPr id="37892" name="Rectangle 2"/>
          <p:cNvSpPr>
            <a:spLocks noChangeArrowheads="1"/>
          </p:cNvSpPr>
          <p:nvPr/>
        </p:nvSpPr>
        <p:spPr bwMode="auto">
          <a:xfrm>
            <a:off x="368300" y="1836738"/>
            <a:ext cx="4357688"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prstClr val="white"/>
                </a:solidFill>
              </a:rPr>
              <a:t>Considerations</a:t>
            </a:r>
            <a:endParaRPr lang="en-US" sz="1600" b="1" dirty="0">
              <a:solidFill>
                <a:prstClr val="white"/>
              </a:solidFill>
            </a:endParaRPr>
          </a:p>
        </p:txBody>
      </p:sp>
      <p:sp>
        <p:nvSpPr>
          <p:cNvPr id="37893" name="Rectangle 5"/>
          <p:cNvSpPr>
            <a:spLocks noChangeArrowheads="1"/>
          </p:cNvSpPr>
          <p:nvPr/>
        </p:nvSpPr>
        <p:spPr bwMode="auto">
          <a:xfrm>
            <a:off x="5167313" y="2217738"/>
            <a:ext cx="4359275" cy="93564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t>STOXX </a:t>
            </a:r>
            <a:r>
              <a:rPr lang="en-US" sz="1600" dirty="0"/>
              <a:t>ensures that component </a:t>
            </a:r>
            <a:r>
              <a:rPr lang="en-US" sz="1600" b="1" dirty="0"/>
              <a:t>selection and weighting </a:t>
            </a:r>
            <a:r>
              <a:rPr lang="en-US" sz="1600" dirty="0"/>
              <a:t>for Select Dividend Indices is </a:t>
            </a:r>
            <a:r>
              <a:rPr lang="en-US" sz="1600" dirty="0" smtClean="0"/>
              <a:t>based </a:t>
            </a:r>
            <a:r>
              <a:rPr lang="en-US" sz="1600" dirty="0"/>
              <a:t>on </a:t>
            </a:r>
            <a:r>
              <a:rPr lang="en-US" sz="1600" dirty="0" smtClean="0"/>
              <a:t>net </a:t>
            </a:r>
            <a:r>
              <a:rPr lang="en-US" sz="1600" dirty="0"/>
              <a:t>dividend </a:t>
            </a:r>
            <a:r>
              <a:rPr lang="en-US" sz="1600" dirty="0" smtClean="0"/>
              <a:t>yield relative to home market</a:t>
            </a:r>
            <a:endParaRPr lang="en-US" sz="1600" dirty="0" smtClean="0">
              <a:solidFill>
                <a:srgbClr val="000000"/>
              </a:solidFill>
            </a:endParaRPr>
          </a:p>
        </p:txBody>
      </p:sp>
      <p:sp>
        <p:nvSpPr>
          <p:cNvPr id="37894" name="Rectangle 2"/>
          <p:cNvSpPr>
            <a:spLocks noChangeArrowheads="1"/>
          </p:cNvSpPr>
          <p:nvPr/>
        </p:nvSpPr>
        <p:spPr bwMode="auto">
          <a:xfrm>
            <a:off x="5167313" y="1836738"/>
            <a:ext cx="4359275"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rgbClr val="FFFFFF"/>
                </a:solidFill>
              </a:rPr>
              <a:t>Approach</a:t>
            </a:r>
            <a:endParaRPr lang="en-US" sz="1600" b="1" dirty="0">
              <a:solidFill>
                <a:srgbClr val="FFFFFF"/>
              </a:solidFill>
            </a:endParaRPr>
          </a:p>
        </p:txBody>
      </p:sp>
      <p:grpSp>
        <p:nvGrpSpPr>
          <p:cNvPr id="6" name="Group 5"/>
          <p:cNvGrpSpPr/>
          <p:nvPr/>
        </p:nvGrpSpPr>
        <p:grpSpPr>
          <a:xfrm>
            <a:off x="4775200" y="1842229"/>
            <a:ext cx="341313" cy="3978276"/>
            <a:chOff x="4775200" y="1842229"/>
            <a:chExt cx="341313" cy="3978276"/>
          </a:xfrm>
        </p:grpSpPr>
        <p:cxnSp>
          <p:nvCxnSpPr>
            <p:cNvPr id="18" name="Straight Connector 17"/>
            <p:cNvCxnSpPr/>
            <p:nvPr/>
          </p:nvCxnSpPr>
          <p:spPr>
            <a:xfrm>
              <a:off x="4945856" y="1842229"/>
              <a:ext cx="0" cy="3978276"/>
            </a:xfrm>
            <a:prstGeom prst="line">
              <a:avLst/>
            </a:prstGeom>
            <a:ln w="19050">
              <a:solidFill>
                <a:srgbClr val="92B602"/>
              </a:solidFill>
            </a:ln>
          </p:spPr>
          <p:style>
            <a:lnRef idx="1">
              <a:schemeClr val="accent1"/>
            </a:lnRef>
            <a:fillRef idx="0">
              <a:schemeClr val="accent1"/>
            </a:fillRef>
            <a:effectRef idx="0">
              <a:schemeClr val="accent1"/>
            </a:effectRef>
            <a:fontRef idx="minor">
              <a:schemeClr val="tx1"/>
            </a:fontRef>
          </p:style>
        </p:cxnSp>
        <p:grpSp>
          <p:nvGrpSpPr>
            <p:cNvPr id="20" name="Group 10"/>
            <p:cNvGrpSpPr>
              <a:grpSpLocks/>
            </p:cNvGrpSpPr>
            <p:nvPr/>
          </p:nvGrpSpPr>
          <p:grpSpPr bwMode="auto">
            <a:xfrm>
              <a:off x="4775200" y="3634517"/>
              <a:ext cx="341313" cy="393700"/>
              <a:chOff x="3694" y="1437"/>
              <a:chExt cx="198" cy="248"/>
            </a:xfrm>
          </p:grpSpPr>
          <p:sp>
            <p:nvSpPr>
              <p:cNvPr id="21" name="Rectangle 11"/>
              <p:cNvSpPr>
                <a:spLocks noChangeArrowheads="1"/>
              </p:cNvSpPr>
              <p:nvPr/>
            </p:nvSpPr>
            <p:spPr bwMode="auto">
              <a:xfrm>
                <a:off x="3694" y="1437"/>
                <a:ext cx="198" cy="248"/>
              </a:xfrm>
              <a:prstGeom prst="rect">
                <a:avLst/>
              </a:prstGeom>
              <a:solidFill>
                <a:schemeClr val="bg1"/>
              </a:solidFill>
              <a:ln w="9525" algn="ctr">
                <a:solidFill>
                  <a:schemeClr val="bg1"/>
                </a:solidFill>
                <a:miter lim="800000"/>
                <a:headEnd/>
                <a:tailEnd/>
              </a:ln>
            </p:spPr>
            <p:txBody>
              <a:bodyPr lIns="0" tIns="0" rIns="0" bIns="0" anchor="ctr">
                <a:noAutofit/>
              </a:bodyPr>
              <a:lstStyle/>
              <a:p>
                <a:pPr>
                  <a:spcBef>
                    <a:spcPct val="0"/>
                  </a:spcBef>
                </a:pPr>
                <a:endParaRPr lang="en-US" dirty="0">
                  <a:solidFill>
                    <a:prstClr val="black"/>
                  </a:solidFill>
                </a:endParaRPr>
              </a:p>
            </p:txBody>
          </p:sp>
          <p:grpSp>
            <p:nvGrpSpPr>
              <p:cNvPr id="22" name="Group 12"/>
              <p:cNvGrpSpPr>
                <a:grpSpLocks/>
              </p:cNvGrpSpPr>
              <p:nvPr/>
            </p:nvGrpSpPr>
            <p:grpSpPr bwMode="auto">
              <a:xfrm>
                <a:off x="3694" y="1465"/>
                <a:ext cx="198" cy="194"/>
                <a:chOff x="1603" y="2418"/>
                <a:chExt cx="198" cy="194"/>
              </a:xfrm>
            </p:grpSpPr>
            <p:sp>
              <p:nvSpPr>
                <p:cNvPr id="23" name="Freeform 13"/>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sp>
              <p:nvSpPr>
                <p:cNvPr id="24" name="Freeform 14"/>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grpSp>
        </p:grpSp>
      </p:grpSp>
      <p:sp>
        <p:nvSpPr>
          <p:cNvPr id="2" name="Text Placeholder 1"/>
          <p:cNvSpPr>
            <a:spLocks noGrp="1"/>
          </p:cNvSpPr>
          <p:nvPr>
            <p:ph type="body" sz="quarter" idx="12"/>
          </p:nvPr>
        </p:nvSpPr>
        <p:spPr/>
        <p:txBody>
          <a:bodyPr/>
          <a:lstStyle/>
          <a:p>
            <a:r>
              <a:rPr lang="en-US" dirty="0" smtClean="0"/>
              <a:t>List of selected references are provided at the end of this presentation</a:t>
            </a:r>
            <a:endParaRPr lang="en-US" dirty="0"/>
          </a:p>
        </p:txBody>
      </p:sp>
      <p:sp>
        <p:nvSpPr>
          <p:cNvPr id="15" name="Rectangle 3"/>
          <p:cNvSpPr>
            <a:spLocks noChangeArrowheads="1"/>
          </p:cNvSpPr>
          <p:nvPr/>
        </p:nvSpPr>
        <p:spPr bwMode="auto">
          <a:xfrm>
            <a:off x="368300" y="3236317"/>
            <a:ext cx="4357688" cy="116955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smtClean="0"/>
              <a:t>Extensive research supports that </a:t>
            </a:r>
            <a:r>
              <a:rPr lang="en-US" sz="1600" dirty="0"/>
              <a:t>companies that </a:t>
            </a:r>
            <a:r>
              <a:rPr lang="en-US" sz="1600" b="1" dirty="0"/>
              <a:t>continuously pay dividends</a:t>
            </a:r>
            <a:r>
              <a:rPr lang="en-US" sz="1600" dirty="0"/>
              <a:t> during good times also do so during bear </a:t>
            </a:r>
            <a:r>
              <a:rPr lang="en-US" sz="1600" dirty="0" smtClean="0"/>
              <a:t>markets and tend to generate above market </a:t>
            </a:r>
            <a:r>
              <a:rPr lang="en-US" sz="1600" dirty="0">
                <a:solidFill>
                  <a:prstClr val="black"/>
                </a:solidFill>
              </a:rPr>
              <a:t>risk-adjusted </a:t>
            </a:r>
            <a:r>
              <a:rPr lang="en-US" sz="1600" dirty="0" smtClean="0">
                <a:solidFill>
                  <a:prstClr val="black"/>
                </a:solidFill>
              </a:rPr>
              <a:t>returns</a:t>
            </a:r>
            <a:r>
              <a:rPr lang="en-US" sz="1600" baseline="30000" dirty="0" smtClean="0">
                <a:solidFill>
                  <a:prstClr val="black"/>
                </a:solidFill>
              </a:rPr>
              <a:t>1</a:t>
            </a:r>
            <a:endParaRPr lang="en-US" sz="1600" dirty="0"/>
          </a:p>
        </p:txBody>
      </p:sp>
      <p:sp>
        <p:nvSpPr>
          <p:cNvPr id="17" name="Rectangle 5"/>
          <p:cNvSpPr>
            <a:spLocks noChangeArrowheads="1"/>
          </p:cNvSpPr>
          <p:nvPr/>
        </p:nvSpPr>
        <p:spPr bwMode="auto">
          <a:xfrm>
            <a:off x="5167313" y="3419017"/>
            <a:ext cx="4359275" cy="467820"/>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Focus on </a:t>
            </a:r>
            <a:r>
              <a:rPr lang="en-US" sz="1600" b="1" dirty="0">
                <a:solidFill>
                  <a:srgbClr val="000000"/>
                </a:solidFill>
              </a:rPr>
              <a:t>consistent</a:t>
            </a:r>
            <a:r>
              <a:rPr lang="en-US" sz="1600" dirty="0">
                <a:solidFill>
                  <a:srgbClr val="000000"/>
                </a:solidFill>
              </a:rPr>
              <a:t> and long track record of dividend </a:t>
            </a:r>
            <a:r>
              <a:rPr lang="en-US" sz="1600" dirty="0" smtClean="0">
                <a:solidFill>
                  <a:srgbClr val="000000"/>
                </a:solidFill>
              </a:rPr>
              <a:t>payments</a:t>
            </a:r>
            <a:endParaRPr lang="en-US" sz="1600" dirty="0">
              <a:solidFill>
                <a:srgbClr val="000000"/>
              </a:solidFill>
            </a:endParaRPr>
          </a:p>
        </p:txBody>
      </p:sp>
      <p:sp>
        <p:nvSpPr>
          <p:cNvPr id="19" name="Rectangle 5"/>
          <p:cNvSpPr>
            <a:spLocks noChangeArrowheads="1"/>
          </p:cNvSpPr>
          <p:nvPr/>
        </p:nvSpPr>
        <p:spPr bwMode="auto">
          <a:xfrm>
            <a:off x="5167313" y="4206880"/>
            <a:ext cx="4359275"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b="1" dirty="0">
                <a:solidFill>
                  <a:srgbClr val="000000"/>
                </a:solidFill>
              </a:rPr>
              <a:t>Tradability and diversification </a:t>
            </a:r>
            <a:r>
              <a:rPr lang="en-US" sz="1600" dirty="0">
                <a:solidFill>
                  <a:srgbClr val="000000"/>
                </a:solidFill>
              </a:rPr>
              <a:t>achieved through liquidity filters and maximum weight capping</a:t>
            </a:r>
          </a:p>
        </p:txBody>
      </p:sp>
      <p:sp>
        <p:nvSpPr>
          <p:cNvPr id="25" name="Rectangle 3"/>
          <p:cNvSpPr>
            <a:spLocks noChangeArrowheads="1"/>
          </p:cNvSpPr>
          <p:nvPr/>
        </p:nvSpPr>
        <p:spPr bwMode="auto">
          <a:xfrm>
            <a:off x="368300" y="4695071"/>
            <a:ext cx="4357688" cy="701731"/>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prstClr val="black"/>
                </a:solidFill>
              </a:rPr>
              <a:t>Very high dividends can indicate that companies lack profitable reinvestment ideas/opportunities</a:t>
            </a:r>
            <a:endParaRPr lang="en-US" sz="1600" dirty="0"/>
          </a:p>
        </p:txBody>
      </p:sp>
      <p:sp>
        <p:nvSpPr>
          <p:cNvPr id="26" name="Rectangle 5"/>
          <p:cNvSpPr>
            <a:spLocks noChangeArrowheads="1"/>
          </p:cNvSpPr>
          <p:nvPr/>
        </p:nvSpPr>
        <p:spPr bwMode="auto">
          <a:xfrm>
            <a:off x="5167312" y="5162892"/>
            <a:ext cx="4359275" cy="233910"/>
          </a:xfrm>
          <a:prstGeom prst="rect">
            <a:avLst/>
          </a:prstGeom>
          <a:noFill/>
          <a:ln w="9525">
            <a:noFill/>
            <a:miter lim="800000"/>
            <a:headEnd/>
            <a:tailEnd/>
          </a:ln>
        </p:spPr>
        <p:txBody>
          <a:bodyPr lIns="0" tIns="0" rIns="0" bIns="0">
            <a:spAutoFit/>
          </a:bodyPr>
          <a:lstStyle/>
          <a:p>
            <a:pPr marL="190466" lvl="1" indent="-188879" fontAlgn="base">
              <a:lnSpc>
                <a:spcPct val="95000"/>
              </a:lnSpc>
              <a:spcBef>
                <a:spcPct val="0"/>
              </a:spcBef>
              <a:spcAft>
                <a:spcPct val="0"/>
              </a:spcAft>
              <a:buClr>
                <a:srgbClr val="14044E"/>
              </a:buClr>
              <a:buFont typeface="Arial" charset="0"/>
              <a:buChar char="»"/>
            </a:pPr>
            <a:r>
              <a:rPr lang="en-US" sz="1600" dirty="0">
                <a:solidFill>
                  <a:srgbClr val="000000"/>
                </a:solidFill>
              </a:rPr>
              <a:t>Avoid companies with excessive payout ratios </a:t>
            </a:r>
          </a:p>
        </p:txBody>
      </p:sp>
    </p:spTree>
    <p:extLst>
      <p:ext uri="{BB962C8B-B14F-4D97-AF65-F5344CB8AC3E}">
        <p14:creationId xmlns:p14="http://schemas.microsoft.com/office/powerpoint/2010/main" val="31123789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17"/>
          <p:cNvSpPr>
            <a:spLocks noChangeArrowheads="1"/>
          </p:cNvSpPr>
          <p:nvPr/>
        </p:nvSpPr>
        <p:spPr bwMode="auto">
          <a:xfrm>
            <a:off x="6967062" y="1752601"/>
            <a:ext cx="2662713" cy="3663950"/>
          </a:xfrm>
          <a:prstGeom prst="rect">
            <a:avLst/>
          </a:prstGeom>
          <a:solidFill>
            <a:srgbClr val="D9D9D9"/>
          </a:solidFill>
          <a:ln w="9525" algn="ctr">
            <a:solidFill>
              <a:srgbClr val="D9D9D9"/>
            </a:solidFill>
            <a:round/>
            <a:headEnd/>
            <a:tailEnd/>
          </a:ln>
        </p:spPr>
        <p:txBody>
          <a:bodyPr wrap="none" lIns="72000" tIns="72000" rIns="72000" bIns="72000" anchor="t" anchorCtr="0"/>
          <a:lstStyle/>
          <a:p>
            <a:pPr>
              <a:lnSpc>
                <a:spcPct val="95000"/>
              </a:lnSpc>
              <a:spcBef>
                <a:spcPct val="0"/>
              </a:spcBef>
            </a:pPr>
            <a:r>
              <a:rPr lang="en-US" sz="1600" b="1" dirty="0"/>
              <a:t>Additional features</a:t>
            </a:r>
          </a:p>
          <a:p>
            <a:pPr>
              <a:lnSpc>
                <a:spcPct val="95000"/>
              </a:lnSpc>
              <a:spcBef>
                <a:spcPct val="0"/>
              </a:spcBef>
            </a:pPr>
            <a:endParaRPr lang="en-US" sz="1600" b="1" dirty="0"/>
          </a:p>
          <a:p>
            <a:pPr marL="190500" lvl="1" indent="-188913">
              <a:lnSpc>
                <a:spcPct val="95000"/>
              </a:lnSpc>
              <a:spcBef>
                <a:spcPct val="0"/>
              </a:spcBef>
              <a:buFont typeface="Arial" charset="0"/>
              <a:buChar char="»"/>
            </a:pPr>
            <a:r>
              <a:rPr lang="en-US" sz="1600" dirty="0"/>
              <a:t>Weighting</a:t>
            </a:r>
            <a:r>
              <a:rPr lang="en-US" sz="1600" dirty="0" smtClean="0"/>
              <a:t>: based on </a:t>
            </a:r>
          </a:p>
          <a:p>
            <a:pPr marL="1587" lvl="1">
              <a:lnSpc>
                <a:spcPct val="95000"/>
              </a:lnSpc>
              <a:spcBef>
                <a:spcPct val="0"/>
              </a:spcBef>
            </a:pPr>
            <a:r>
              <a:rPr lang="en-US" sz="1600" dirty="0" smtClean="0"/>
              <a:t>Annual net dividend yield.</a:t>
            </a:r>
          </a:p>
          <a:p>
            <a:pPr marL="1587" lvl="1">
              <a:lnSpc>
                <a:spcPct val="95000"/>
              </a:lnSpc>
              <a:spcBef>
                <a:spcPct val="0"/>
              </a:spcBef>
            </a:pPr>
            <a:r>
              <a:rPr lang="en-US" sz="1600" dirty="0" smtClean="0"/>
              <a:t>Capping at 15% applied </a:t>
            </a:r>
          </a:p>
          <a:p>
            <a:pPr marL="1587" lvl="1">
              <a:lnSpc>
                <a:spcPct val="95000"/>
              </a:lnSpc>
              <a:spcBef>
                <a:spcPct val="0"/>
              </a:spcBef>
            </a:pPr>
            <a:r>
              <a:rPr lang="en-US" sz="1600" dirty="0" smtClean="0"/>
              <a:t>quarterly</a:t>
            </a:r>
          </a:p>
          <a:p>
            <a:pPr marL="1587" lvl="1">
              <a:lnSpc>
                <a:spcPct val="95000"/>
              </a:lnSpc>
              <a:spcBef>
                <a:spcPct val="0"/>
              </a:spcBef>
            </a:pPr>
            <a:endParaRPr lang="en-US" sz="1600" dirty="0"/>
          </a:p>
          <a:p>
            <a:pPr marL="190500" lvl="1" indent="-188913">
              <a:lnSpc>
                <a:spcPct val="95000"/>
              </a:lnSpc>
              <a:spcBef>
                <a:spcPct val="0"/>
              </a:spcBef>
              <a:buFont typeface="Arial" charset="0"/>
              <a:buChar char="»"/>
            </a:pPr>
            <a:r>
              <a:rPr lang="en-US" sz="1600" dirty="0"/>
              <a:t>Review</a:t>
            </a:r>
            <a:r>
              <a:rPr lang="en-US" sz="1600" dirty="0" smtClean="0"/>
              <a:t>: annually in </a:t>
            </a:r>
          </a:p>
          <a:p>
            <a:pPr marL="1587" lvl="1">
              <a:lnSpc>
                <a:spcPct val="95000"/>
              </a:lnSpc>
              <a:spcBef>
                <a:spcPct val="0"/>
              </a:spcBef>
            </a:pPr>
            <a:r>
              <a:rPr lang="en-US" sz="1600" dirty="0" smtClean="0"/>
              <a:t>March.</a:t>
            </a:r>
          </a:p>
          <a:p>
            <a:pPr marL="1587" lvl="1">
              <a:lnSpc>
                <a:spcPct val="95000"/>
              </a:lnSpc>
              <a:spcBef>
                <a:spcPct val="0"/>
              </a:spcBef>
            </a:pPr>
            <a:endParaRPr lang="en-US" sz="1600" dirty="0" smtClean="0"/>
          </a:p>
          <a:p>
            <a:pPr marL="190500" lvl="1" indent="-188913">
              <a:lnSpc>
                <a:spcPct val="95000"/>
              </a:lnSpc>
              <a:spcBef>
                <a:spcPct val="0"/>
              </a:spcBef>
              <a:buFont typeface="Arial" charset="0"/>
              <a:buChar char="»"/>
            </a:pPr>
            <a:r>
              <a:rPr lang="en-US" sz="1600" dirty="0" smtClean="0"/>
              <a:t>Only the higher dividend</a:t>
            </a:r>
          </a:p>
          <a:p>
            <a:pPr marL="1587" lvl="1">
              <a:lnSpc>
                <a:spcPct val="95000"/>
              </a:lnSpc>
              <a:spcBef>
                <a:spcPct val="0"/>
              </a:spcBef>
            </a:pPr>
            <a:r>
              <a:rPr lang="en-US" sz="1600" dirty="0"/>
              <a:t>y</a:t>
            </a:r>
            <a:r>
              <a:rPr lang="en-US" sz="1600" dirty="0" smtClean="0"/>
              <a:t>ielding share line is chosen</a:t>
            </a:r>
            <a:endParaRPr lang="en-US" sz="1600" dirty="0"/>
          </a:p>
          <a:p>
            <a:pPr marL="1587" lvl="1">
              <a:lnSpc>
                <a:spcPct val="95000"/>
              </a:lnSpc>
              <a:spcBef>
                <a:spcPct val="0"/>
              </a:spcBef>
            </a:pPr>
            <a:r>
              <a:rPr lang="en-US" sz="1600" dirty="0"/>
              <a:t>f</a:t>
            </a:r>
            <a:r>
              <a:rPr lang="en-US" sz="1600" dirty="0" smtClean="0"/>
              <a:t>or a company</a:t>
            </a:r>
            <a:endParaRPr lang="en-US" sz="1600" dirty="0"/>
          </a:p>
          <a:p>
            <a:pPr marL="1587" lvl="1">
              <a:lnSpc>
                <a:spcPct val="95000"/>
              </a:lnSpc>
              <a:spcBef>
                <a:spcPct val="0"/>
              </a:spcBef>
            </a:pPr>
            <a:endParaRPr lang="en-US" sz="1600" dirty="0" smtClean="0"/>
          </a:p>
        </p:txBody>
      </p:sp>
      <p:sp>
        <p:nvSpPr>
          <p:cNvPr id="82946" name="Rectangle 2"/>
          <p:cNvSpPr>
            <a:spLocks noGrp="1" noChangeArrowheads="1"/>
          </p:cNvSpPr>
          <p:nvPr>
            <p:ph type="title"/>
          </p:nvPr>
        </p:nvSpPr>
        <p:spPr/>
        <p:txBody>
          <a:bodyPr/>
          <a:lstStyle/>
          <a:p>
            <a:r>
              <a:rPr lang="de-CH" dirty="0" err="1" smtClean="0"/>
              <a:t>Methodology</a:t>
            </a:r>
            <a:endParaRPr lang="en-US" dirty="0" smtClean="0"/>
          </a:p>
        </p:txBody>
      </p:sp>
      <p:sp>
        <p:nvSpPr>
          <p:cNvPr id="2" name="Text Placeholder 1"/>
          <p:cNvSpPr>
            <a:spLocks noGrp="1"/>
          </p:cNvSpPr>
          <p:nvPr>
            <p:ph type="body" sz="quarter" idx="12"/>
          </p:nvPr>
        </p:nvSpPr>
        <p:spPr>
          <a:xfrm>
            <a:off x="1737360" y="6400800"/>
            <a:ext cx="7589520" cy="365760"/>
          </a:xfrm>
        </p:spPr>
        <p:txBody>
          <a:bodyPr/>
          <a:lstStyle/>
          <a:p>
            <a:pPr marL="0" indent="0">
              <a:buNone/>
            </a:pPr>
            <a:endParaRPr lang="en-US" dirty="0"/>
          </a:p>
        </p:txBody>
      </p:sp>
      <p:sp>
        <p:nvSpPr>
          <p:cNvPr id="21" name="Rectangle 10"/>
          <p:cNvSpPr>
            <a:spLocks noChangeArrowheads="1"/>
          </p:cNvSpPr>
          <p:nvPr/>
        </p:nvSpPr>
        <p:spPr bwMode="auto">
          <a:xfrm>
            <a:off x="1897070" y="4953748"/>
            <a:ext cx="574526" cy="204671"/>
          </a:xfrm>
          <a:prstGeom prst="rect">
            <a:avLst/>
          </a:prstGeom>
          <a:noFill/>
          <a:ln w="9525" algn="ctr">
            <a:noFill/>
            <a:miter lim="800000"/>
            <a:headEnd/>
            <a:tailEnd/>
          </a:ln>
        </p:spPr>
        <p:txBody>
          <a:bodyPr wrap="square"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2" name="Rectangle 11"/>
          <p:cNvSpPr>
            <a:spLocks noChangeArrowheads="1"/>
          </p:cNvSpPr>
          <p:nvPr/>
        </p:nvSpPr>
        <p:spPr bwMode="auto">
          <a:xfrm>
            <a:off x="1799364" y="4236959"/>
            <a:ext cx="771525"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3" name="Rectangle 12"/>
          <p:cNvSpPr>
            <a:spLocks noChangeArrowheads="1"/>
          </p:cNvSpPr>
          <p:nvPr/>
        </p:nvSpPr>
        <p:spPr bwMode="auto">
          <a:xfrm>
            <a:off x="899252" y="2077723"/>
            <a:ext cx="2570162"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5" name="Rectangle 18"/>
          <p:cNvSpPr>
            <a:spLocks noChangeArrowheads="1"/>
          </p:cNvSpPr>
          <p:nvPr/>
        </p:nvSpPr>
        <p:spPr bwMode="auto">
          <a:xfrm>
            <a:off x="1492977" y="3520169"/>
            <a:ext cx="1384300"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31" name="Rectangle 6"/>
          <p:cNvSpPr>
            <a:spLocks noChangeArrowheads="1"/>
          </p:cNvSpPr>
          <p:nvPr/>
        </p:nvSpPr>
        <p:spPr bwMode="auto">
          <a:xfrm>
            <a:off x="3111516" y="2234102"/>
            <a:ext cx="3756009" cy="2105192"/>
          </a:xfrm>
          <a:prstGeom prst="rect">
            <a:avLst/>
          </a:prstGeom>
          <a:noFill/>
          <a:ln w="9525" algn="ctr">
            <a:noFill/>
            <a:miter lim="800000"/>
            <a:headEnd/>
            <a:tailEnd/>
          </a:ln>
        </p:spPr>
        <p:txBody>
          <a:bodyPr wrap="square" lIns="0" tIns="0" rIns="0" bIns="0" anchor="ctr">
            <a:spAutoFit/>
          </a:bodyPr>
          <a:lstStyle/>
          <a:p>
            <a:pPr marL="196850" lvl="1" indent="-195263" defTabSz="736600">
              <a:lnSpc>
                <a:spcPct val="95000"/>
              </a:lnSpc>
              <a:spcBef>
                <a:spcPct val="0"/>
              </a:spcBef>
              <a:buFont typeface="Arial" charset="0"/>
              <a:buChar char="»"/>
            </a:pPr>
            <a:r>
              <a:rPr lang="en-US" sz="1600" dirty="0" smtClean="0"/>
              <a:t>Companies that announced dividends payments</a:t>
            </a:r>
          </a:p>
          <a:p>
            <a:pPr marL="196850" lvl="1" indent="-195263" defTabSz="736600">
              <a:lnSpc>
                <a:spcPct val="95000"/>
              </a:lnSpc>
              <a:spcBef>
                <a:spcPct val="0"/>
              </a:spcBef>
              <a:buFont typeface="Arial" charset="0"/>
              <a:buChar char="»"/>
            </a:pPr>
            <a:r>
              <a:rPr lang="en-US" sz="1600" dirty="0" smtClean="0"/>
              <a:t>Have a non-negative dividend growth rate over the past 5 years</a:t>
            </a:r>
          </a:p>
          <a:p>
            <a:pPr marL="196850" lvl="1" indent="-195263" defTabSz="736600">
              <a:lnSpc>
                <a:spcPct val="95000"/>
              </a:lnSpc>
              <a:spcBef>
                <a:spcPct val="0"/>
              </a:spcBef>
              <a:buFont typeface="Arial" charset="0"/>
              <a:buChar char="»"/>
            </a:pPr>
            <a:r>
              <a:rPr lang="en-US" sz="1600" dirty="0" smtClean="0"/>
              <a:t>Dividend payment in 4 out of last 5 calendar years</a:t>
            </a:r>
          </a:p>
          <a:p>
            <a:pPr marL="196850" lvl="1" indent="-195263" defTabSz="736600">
              <a:lnSpc>
                <a:spcPct val="95000"/>
              </a:lnSpc>
              <a:spcBef>
                <a:spcPct val="0"/>
              </a:spcBef>
              <a:buFont typeface="Arial" charset="0"/>
              <a:buChar char="»"/>
            </a:pPr>
            <a:r>
              <a:rPr lang="en-US" sz="1600" dirty="0" smtClean="0"/>
              <a:t>Non-negative payout </a:t>
            </a:r>
            <a:r>
              <a:rPr lang="en-US" sz="1600" dirty="0"/>
              <a:t>ratio of less than or equal to </a:t>
            </a:r>
            <a:r>
              <a:rPr lang="en-US" sz="1600" dirty="0" smtClean="0"/>
              <a:t>60%</a:t>
            </a:r>
          </a:p>
          <a:p>
            <a:pPr marL="196850" lvl="1" indent="-195263" defTabSz="736600">
              <a:lnSpc>
                <a:spcPct val="95000"/>
              </a:lnSpc>
              <a:spcBef>
                <a:spcPct val="0"/>
              </a:spcBef>
              <a:buFont typeface="Arial" charset="0"/>
              <a:buChar char="»"/>
            </a:pPr>
            <a:r>
              <a:rPr lang="en-US" sz="1600" dirty="0" smtClean="0"/>
              <a:t>Minimum liquidity level</a:t>
            </a:r>
          </a:p>
        </p:txBody>
      </p:sp>
      <p:sp>
        <p:nvSpPr>
          <p:cNvPr id="32" name="Rectangle 6"/>
          <p:cNvSpPr>
            <a:spLocks noChangeArrowheads="1"/>
          </p:cNvSpPr>
          <p:nvPr/>
        </p:nvSpPr>
        <p:spPr bwMode="auto">
          <a:xfrm>
            <a:off x="3111516" y="1836737"/>
            <a:ext cx="3657600"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smtClean="0"/>
              <a:t>EURO STOXX + secondary lines</a:t>
            </a:r>
            <a:endParaRPr lang="en-US" sz="1600" b="0" dirty="0"/>
          </a:p>
        </p:txBody>
      </p:sp>
      <p:sp>
        <p:nvSpPr>
          <p:cNvPr id="19" name="Flowchart: Merge 18"/>
          <p:cNvSpPr/>
          <p:nvPr/>
        </p:nvSpPr>
        <p:spPr bwMode="auto">
          <a:xfrm>
            <a:off x="295275" y="1752601"/>
            <a:ext cx="2816241" cy="3663950"/>
          </a:xfrm>
          <a:prstGeom prst="flowChartMerge">
            <a:avLst/>
          </a:prstGeom>
          <a:gradFill flip="none" rotWithShape="1">
            <a:gsLst>
              <a:gs pos="43000">
                <a:schemeClr val="accent3"/>
              </a:gs>
              <a:gs pos="84000">
                <a:schemeClr val="accent4"/>
              </a:gs>
              <a:gs pos="63000">
                <a:schemeClr val="accent4"/>
              </a:gs>
              <a:gs pos="22000">
                <a:schemeClr val="accent2"/>
              </a:gs>
            </a:gsLst>
            <a:lin ang="5400000" scaled="1"/>
            <a:tileRect/>
          </a:gradFill>
          <a:ln w="6350" algn="ctr">
            <a:noFill/>
            <a:miter lim="800000"/>
            <a:headEnd/>
            <a:tailEnd/>
          </a:ln>
        </p:spPr>
        <p:txBody>
          <a:bodyPr wrap="none" anchor="t"/>
          <a:lstStyle/>
          <a:p>
            <a:pPr>
              <a:spcBef>
                <a:spcPts val="0"/>
              </a:spcBef>
              <a:spcAft>
                <a:spcPts val="600"/>
              </a:spcAft>
            </a:pPr>
            <a:endParaRPr lang="en-US" sz="800" dirty="0" smtClean="0">
              <a:solidFill>
                <a:prstClr val="white"/>
              </a:solidFill>
            </a:endParaRPr>
          </a:p>
          <a:p>
            <a:pPr>
              <a:spcBef>
                <a:spcPts val="0"/>
              </a:spcBef>
              <a:spcAft>
                <a:spcPts val="0"/>
              </a:spcAft>
            </a:pPr>
            <a:endParaRPr lang="en-US" sz="1400" dirty="0">
              <a:solidFill>
                <a:prstClr val="white"/>
              </a:solidFill>
            </a:endParaRPr>
          </a:p>
        </p:txBody>
      </p:sp>
      <p:sp>
        <p:nvSpPr>
          <p:cNvPr id="20" name="TextBox 19"/>
          <p:cNvSpPr txBox="1"/>
          <p:nvPr/>
        </p:nvSpPr>
        <p:spPr>
          <a:xfrm>
            <a:off x="975762" y="1836737"/>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Universe</a:t>
            </a:r>
          </a:p>
        </p:txBody>
      </p:sp>
      <p:sp>
        <p:nvSpPr>
          <p:cNvPr id="24" name="TextBox 23"/>
          <p:cNvSpPr txBox="1"/>
          <p:nvPr/>
        </p:nvSpPr>
        <p:spPr>
          <a:xfrm>
            <a:off x="967671" y="311504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Filter</a:t>
            </a:r>
          </a:p>
        </p:txBody>
      </p:sp>
      <p:sp>
        <p:nvSpPr>
          <p:cNvPr id="26" name="TextBox 25"/>
          <p:cNvSpPr txBox="1"/>
          <p:nvPr/>
        </p:nvSpPr>
        <p:spPr>
          <a:xfrm>
            <a:off x="951343" y="4491087"/>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Select</a:t>
            </a:r>
          </a:p>
        </p:txBody>
      </p:sp>
      <p:sp>
        <p:nvSpPr>
          <p:cNvPr id="16" name="Rectangle 6"/>
          <p:cNvSpPr>
            <a:spLocks noChangeArrowheads="1"/>
          </p:cNvSpPr>
          <p:nvPr/>
        </p:nvSpPr>
        <p:spPr bwMode="auto">
          <a:xfrm>
            <a:off x="3065417" y="4491087"/>
            <a:ext cx="3657600" cy="935641"/>
          </a:xfrm>
          <a:prstGeom prst="rect">
            <a:avLst/>
          </a:prstGeom>
          <a:noFill/>
          <a:ln w="9525" algn="ctr">
            <a:noFill/>
            <a:miter lim="800000"/>
            <a:headEnd/>
            <a:tailEnd/>
          </a:ln>
        </p:spPr>
        <p:txBody>
          <a:bodyPr wrap="square" lIns="0" tIns="0" rIns="0" bIns="0" anchor="ctr">
            <a:spAutoFit/>
          </a:bodyPr>
          <a:lstStyle/>
          <a:p>
            <a:pPr marL="196850" lvl="1" indent="-195263" defTabSz="736600">
              <a:lnSpc>
                <a:spcPct val="95000"/>
              </a:lnSpc>
              <a:spcBef>
                <a:spcPct val="0"/>
              </a:spcBef>
              <a:buFont typeface="Arial" charset="0"/>
              <a:buChar char="»"/>
            </a:pPr>
            <a:r>
              <a:rPr lang="en-US" sz="1600" dirty="0"/>
              <a:t>30 highest-yielding companies relative to their home market. Current components </a:t>
            </a:r>
            <a:r>
              <a:rPr lang="en-US" sz="1600" dirty="0" smtClean="0"/>
              <a:t>ranked from </a:t>
            </a:r>
            <a:r>
              <a:rPr lang="en-US" sz="1600" dirty="0"/>
              <a:t>1 to 60 </a:t>
            </a:r>
            <a:r>
              <a:rPr lang="en-US" sz="1600" dirty="0" smtClean="0"/>
              <a:t>remain in </a:t>
            </a:r>
            <a:r>
              <a:rPr lang="en-US" sz="1600" dirty="0"/>
              <a:t>the index</a:t>
            </a:r>
            <a:endParaRPr lang="en-US" sz="1600" b="0" dirty="0"/>
          </a:p>
        </p:txBody>
      </p:sp>
    </p:spTree>
    <p:extLst>
      <p:ext uri="{BB962C8B-B14F-4D97-AF65-F5344CB8AC3E}">
        <p14:creationId xmlns:p14="http://schemas.microsoft.com/office/powerpoint/2010/main" val="8348368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9"/>
          <p:cNvGraphicFramePr>
            <a:graphicFrameLocks/>
          </p:cNvGraphicFramePr>
          <p:nvPr>
            <p:extLst>
              <p:ext uri="{D42A27DB-BD31-4B8C-83A1-F6EECF244321}">
                <p14:modId xmlns:p14="http://schemas.microsoft.com/office/powerpoint/2010/main" val="3174919800"/>
              </p:ext>
            </p:extLst>
          </p:nvPr>
        </p:nvGraphicFramePr>
        <p:xfrm>
          <a:off x="364300" y="2225820"/>
          <a:ext cx="4361688"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17411" name="Rectangle 2"/>
          <p:cNvSpPr>
            <a:spLocks noGrp="1" noChangeArrowheads="1"/>
          </p:cNvSpPr>
          <p:nvPr>
            <p:ph type="title"/>
          </p:nvPr>
        </p:nvSpPr>
        <p:spPr/>
        <p:txBody>
          <a:bodyPr>
            <a:normAutofit/>
          </a:bodyPr>
          <a:lstStyle/>
          <a:p>
            <a:r>
              <a:rPr lang="en-US" dirty="0" smtClean="0">
                <a:solidFill>
                  <a:schemeClr val="tx1"/>
                </a:solidFill>
              </a:rPr>
              <a:t>Risk and return overview</a:t>
            </a:r>
          </a:p>
        </p:txBody>
      </p:sp>
      <p:graphicFrame>
        <p:nvGraphicFramePr>
          <p:cNvPr id="23" name="Group 62"/>
          <p:cNvGraphicFramePr>
            <a:graphicFrameLocks noGrp="1"/>
          </p:cNvGraphicFramePr>
          <p:nvPr>
            <p:custDataLst>
              <p:tags r:id="rId1"/>
            </p:custDataLst>
            <p:extLst>
              <p:ext uri="{D42A27DB-BD31-4B8C-83A1-F6EECF244321}">
                <p14:modId xmlns:p14="http://schemas.microsoft.com/office/powerpoint/2010/main" val="2124395770"/>
              </p:ext>
            </p:extLst>
          </p:nvPr>
        </p:nvGraphicFramePr>
        <p:xfrm>
          <a:off x="5167313" y="2225823"/>
          <a:ext cx="4357687" cy="3092377"/>
        </p:xfrm>
        <a:graphic>
          <a:graphicData uri="http://schemas.openxmlformats.org/drawingml/2006/table">
            <a:tbl>
              <a:tblPr>
                <a:tableStyleId>{616DA210-FB5B-4158-B5E0-FEB733F419BA}</a:tableStyleId>
              </a:tblPr>
              <a:tblGrid>
                <a:gridCol w="1957387"/>
                <a:gridCol w="1209675"/>
                <a:gridCol w="1190625"/>
              </a:tblGrid>
              <a:tr h="45962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EURO STOXX Select Dividend 3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EURO STOXX</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YTD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dirty="0" smtClean="0">
                          <a:ln>
                            <a:noFill/>
                          </a:ln>
                          <a:solidFill>
                            <a:schemeClr val="tx1"/>
                          </a:solidFill>
                          <a:effectLst/>
                          <a:latin typeface="Arial" panose="020B0604020202020204" pitchFamily="34" charset="0"/>
                          <a:ea typeface=""/>
                          <a:cs typeface="Arial" panose="020B0604020202020204" pitchFamily="34" charset="0"/>
                        </a:rPr>
                        <a:t>13.1</a:t>
                      </a:r>
                      <a:r>
                        <a:rPr kumimoji="0" lang="en-US" sz="100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6.78%</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y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3.4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6.4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5.52%</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5.99%</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5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7.37%</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8.9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1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9.9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1.3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3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6.1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6.9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y </a:t>
                      </a: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8.64%</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19.78%</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Maximum drawdown</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a:ln>
                          <a:noFill/>
                        </a:ln>
                        <a:solidFill>
                          <a:schemeClr val="accent5"/>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7.68%</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0.13%</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y Sharpe ratio</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3)</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97</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96</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5" name="Rectangle 2"/>
          <p:cNvSpPr>
            <a:spLocks noChangeArrowheads="1"/>
          </p:cNvSpPr>
          <p:nvPr/>
        </p:nvSpPr>
        <p:spPr bwMode="auto">
          <a:xfrm>
            <a:off x="368301"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Index</a:t>
            </a:r>
            <a:r>
              <a:rPr lang="en-US" sz="1600" baseline="30000" dirty="0" smtClean="0">
                <a:solidFill>
                  <a:schemeClr val="bg1"/>
                </a:solidFill>
              </a:rPr>
              <a:t>1)</a:t>
            </a:r>
            <a:r>
              <a:rPr lang="en-US" sz="1600" dirty="0" smtClean="0">
                <a:solidFill>
                  <a:schemeClr val="bg1"/>
                </a:solidFill>
              </a:rPr>
              <a:t> </a:t>
            </a:r>
            <a:r>
              <a:rPr lang="en-US" sz="1600" b="1" dirty="0">
                <a:solidFill>
                  <a:schemeClr val="bg1"/>
                </a:solidFill>
              </a:rPr>
              <a:t>5</a:t>
            </a:r>
            <a:r>
              <a:rPr lang="en-US" sz="1600" b="1" dirty="0" smtClean="0">
                <a:solidFill>
                  <a:schemeClr val="bg1"/>
                </a:solidFill>
              </a:rPr>
              <a:t>y</a:t>
            </a:r>
            <a:endParaRPr lang="en-US" sz="1600" b="1" dirty="0">
              <a:solidFill>
                <a:schemeClr val="bg1"/>
              </a:solidFill>
            </a:endParaRPr>
          </a:p>
        </p:txBody>
      </p:sp>
      <p:sp>
        <p:nvSpPr>
          <p:cNvPr id="86" name="Rectangle 2"/>
          <p:cNvSpPr>
            <a:spLocks noChangeArrowheads="1"/>
          </p:cNvSpPr>
          <p:nvPr/>
        </p:nvSpPr>
        <p:spPr bwMode="auto">
          <a:xfrm>
            <a:off x="5167313"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Risk and return characteristics</a:t>
            </a:r>
            <a:r>
              <a:rPr lang="en-US" sz="1600" baseline="30000" dirty="0" smtClean="0">
                <a:solidFill>
                  <a:schemeClr val="bg1"/>
                </a:solidFill>
              </a:rPr>
              <a:t>1)</a:t>
            </a:r>
            <a:endParaRPr lang="en-US" sz="1600" baseline="30000" dirty="0">
              <a:solidFill>
                <a:schemeClr val="bg1"/>
              </a:solidFill>
            </a:endParaRPr>
          </a:p>
        </p:txBody>
      </p:sp>
      <p:sp>
        <p:nvSpPr>
          <p:cNvPr id="36" name="Text Box 150"/>
          <p:cNvSpPr txBox="1">
            <a:spLocks noChangeArrowheads="1"/>
          </p:cNvSpPr>
          <p:nvPr/>
        </p:nvSpPr>
        <p:spPr bwMode="auto">
          <a:xfrm>
            <a:off x="1737360" y="6400800"/>
            <a:ext cx="7680960" cy="438582"/>
          </a:xfrm>
          <a:prstGeom prst="rect">
            <a:avLst/>
          </a:prstGeom>
          <a:noFill/>
          <a:ln w="9525">
            <a:noFill/>
            <a:miter lim="800000"/>
            <a:headEnd/>
            <a:tailEnd/>
          </a:ln>
        </p:spPr>
        <p:txBody>
          <a:bodyPr lIns="0" tIns="0" rIns="0" bIns="0" anchor="t" anchorCtr="0">
            <a:spAutoFit/>
          </a:bodyPr>
          <a:lstStyle/>
          <a:p>
            <a:pPr marL="164592" lvl="0"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a:t>
            </a:r>
            <a:r>
              <a:rPr lang="en-US" sz="1000" dirty="0" smtClean="0">
                <a:solidFill>
                  <a:schemeClr val="accent5"/>
                </a:solidFill>
              </a:rPr>
              <a:t> </a:t>
            </a:r>
            <a:r>
              <a:rPr lang="en-US" sz="1000" dirty="0" smtClean="0">
                <a:solidFill>
                  <a:srgbClr val="AFAFAF"/>
                </a:solidFill>
              </a:rPr>
              <a:t>as of Oct. 30, 2015. Annualized returns and annualized volatility (standard deviation) figures are used</a:t>
            </a:r>
          </a:p>
          <a:p>
            <a:pPr marL="164592" indent="-164592">
              <a:lnSpc>
                <a:spcPct val="95000"/>
              </a:lnSpc>
              <a:spcBef>
                <a:spcPct val="0"/>
              </a:spcBef>
              <a:buFont typeface="+mj-lt"/>
              <a:buAutoNum type="arabicParenR"/>
            </a:pPr>
            <a:r>
              <a:rPr lang="en-US" sz="1000" dirty="0">
                <a:solidFill>
                  <a:srgbClr val="AFAFAF"/>
                </a:solidFill>
              </a:rPr>
              <a:t>Computed for the period </a:t>
            </a:r>
            <a:r>
              <a:rPr lang="en-US" sz="1000" dirty="0" smtClean="0">
                <a:solidFill>
                  <a:srgbClr val="AFAFAF"/>
                </a:solidFill>
              </a:rPr>
              <a:t>Oct.29, 2010 to Oct. 30, 2015</a:t>
            </a:r>
          </a:p>
          <a:p>
            <a:pPr marL="164592" lvl="0" indent="-164592">
              <a:lnSpc>
                <a:spcPct val="95000"/>
              </a:lnSpc>
              <a:spcBef>
                <a:spcPct val="0"/>
              </a:spcBef>
              <a:buFont typeface="+mj-lt"/>
              <a:buAutoNum type="arabicParenR"/>
            </a:pPr>
            <a:r>
              <a:rPr lang="en-US" sz="1000" dirty="0" smtClean="0">
                <a:solidFill>
                  <a:srgbClr val="AFAFAF"/>
                </a:solidFill>
              </a:rPr>
              <a:t>EONIA rate used as riskless asset to calculate Sharpe ratio</a:t>
            </a:r>
            <a:endParaRPr lang="en-US" sz="1000" b="1" dirty="0" smtClean="0">
              <a:solidFill>
                <a:schemeClr val="accent5"/>
              </a:solidFill>
            </a:endParaRPr>
          </a:p>
        </p:txBody>
      </p:sp>
      <p:sp>
        <p:nvSpPr>
          <p:cNvPr id="8" name="Rectangle 6"/>
          <p:cNvSpPr>
            <a:spLocks noChangeArrowheads="1"/>
          </p:cNvSpPr>
          <p:nvPr/>
        </p:nvSpPr>
        <p:spPr bwMode="auto">
          <a:xfrm>
            <a:off x="7213906" y="5695340"/>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EURO STOXX (EUR Gross Return)</a:t>
            </a:r>
            <a:endParaRPr lang="en-US" sz="1000" dirty="0"/>
          </a:p>
        </p:txBody>
      </p:sp>
      <p:sp>
        <p:nvSpPr>
          <p:cNvPr id="9" name="Rectangle 6"/>
          <p:cNvSpPr>
            <a:spLocks noChangeArrowheads="1"/>
          </p:cNvSpPr>
          <p:nvPr/>
        </p:nvSpPr>
        <p:spPr bwMode="auto">
          <a:xfrm>
            <a:off x="373173" y="5680359"/>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EURO STOXX Select Dividend 30 (EUR Gross Return)</a:t>
            </a:r>
            <a:endParaRPr lang="en-US" sz="1000" dirty="0"/>
          </a:p>
        </p:txBody>
      </p:sp>
    </p:spTree>
    <p:extLst>
      <p:ext uri="{BB962C8B-B14F-4D97-AF65-F5344CB8AC3E}">
        <p14:creationId xmlns:p14="http://schemas.microsoft.com/office/powerpoint/2010/main" val="28494563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dex fundamental characteristics and key figures</a:t>
            </a:r>
            <a:endParaRPr lang="en-GB" dirty="0">
              <a:solidFill>
                <a:schemeClr val="accent5"/>
              </a:solidFill>
            </a:endParaRPr>
          </a:p>
        </p:txBody>
      </p:sp>
      <p:sp>
        <p:nvSpPr>
          <p:cNvPr id="4" name="Text Placeholder 3"/>
          <p:cNvSpPr>
            <a:spLocks noGrp="1"/>
          </p:cNvSpPr>
          <p:nvPr>
            <p:ph type="body" sz="quarter" idx="12"/>
          </p:nvPr>
        </p:nvSpPr>
        <p:spPr>
          <a:xfrm>
            <a:off x="1732618" y="6396877"/>
            <a:ext cx="7382045" cy="318247"/>
          </a:xfrm>
        </p:spPr>
        <p:txBody>
          <a:bodyPr/>
          <a:lstStyle/>
          <a:p>
            <a:pPr lvl="0"/>
            <a:r>
              <a:rPr lang="en-US" dirty="0"/>
              <a:t>STOXX</a:t>
            </a:r>
            <a:r>
              <a:rPr lang="en-US" dirty="0">
                <a:solidFill>
                  <a:srgbClr val="AFAFAF"/>
                </a:solidFill>
              </a:rPr>
              <a:t> data as of </a:t>
            </a:r>
            <a:r>
              <a:rPr lang="en-US" dirty="0" smtClean="0">
                <a:solidFill>
                  <a:srgbClr val="AFAFAF"/>
                </a:solidFill>
              </a:rPr>
              <a:t>Oct. 30, 2015 (2) Gross dividend </a:t>
            </a:r>
            <a:r>
              <a:rPr lang="en-US" dirty="0">
                <a:solidFill>
                  <a:srgbClr val="AFAFAF"/>
                </a:solidFill>
              </a:rPr>
              <a:t>yield is </a:t>
            </a:r>
            <a:r>
              <a:rPr lang="en-US" dirty="0" smtClean="0">
                <a:solidFill>
                  <a:srgbClr val="AFAFAF"/>
                </a:solidFill>
              </a:rPr>
              <a:t>calculated as Gross Return index return minus Price index return over 1 year period</a:t>
            </a:r>
            <a:r>
              <a:rPr lang="en-US" dirty="0">
                <a:solidFill>
                  <a:srgbClr val="AFAFAF"/>
                </a:solidFill>
              </a:rPr>
              <a:t> </a:t>
            </a:r>
            <a:r>
              <a:rPr lang="en-US" dirty="0" smtClean="0">
                <a:solidFill>
                  <a:srgbClr val="AFAFAF"/>
                </a:solidFill>
              </a:rPr>
              <a:t>(3) Including negative values. Trailing and projection period are 1 year. (4) Turnover over 1 year period </a:t>
            </a:r>
          </a:p>
          <a:p>
            <a:endParaRPr lang="en-GB" dirty="0"/>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1785000460"/>
              </p:ext>
            </p:extLst>
          </p:nvPr>
        </p:nvGraphicFramePr>
        <p:xfrm>
          <a:off x="5156834" y="2225820"/>
          <a:ext cx="4357687" cy="1135131"/>
        </p:xfrm>
        <a:graphic>
          <a:graphicData uri="http://schemas.openxmlformats.org/drawingml/2006/table">
            <a:tbl>
              <a:tblPr>
                <a:tableStyleId>{616DA210-FB5B-4158-B5E0-FEB733F419BA}</a:tableStyleId>
              </a:tblPr>
              <a:tblGrid>
                <a:gridCol w="1967866"/>
                <a:gridCol w="1219200"/>
                <a:gridCol w="1170621"/>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EURO STOXX Select Dividend 3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EURO STOXX</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Number of components</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29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Turnover</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4)</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20.72%</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31%</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1" name="Rectangle 2"/>
          <p:cNvSpPr>
            <a:spLocks noChangeArrowheads="1"/>
          </p:cNvSpPr>
          <p:nvPr/>
        </p:nvSpPr>
        <p:spPr bwMode="auto">
          <a:xfrm>
            <a:off x="51663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Key figures</a:t>
            </a:r>
            <a:r>
              <a:rPr lang="en-US" sz="1600" baseline="30000" dirty="0" smtClean="0">
                <a:solidFill>
                  <a:schemeClr val="bg1"/>
                </a:solidFill>
              </a:rPr>
              <a:t>1)</a:t>
            </a:r>
            <a:endParaRPr lang="en-US" sz="1600" b="1" dirty="0">
              <a:solidFill>
                <a:schemeClr val="bg1"/>
              </a:solidFill>
            </a:endParaRPr>
          </a:p>
        </p:txBody>
      </p:sp>
      <p:graphicFrame>
        <p:nvGraphicFramePr>
          <p:cNvPr id="17" name="Group 62"/>
          <p:cNvGraphicFramePr>
            <a:graphicFrameLocks noGrp="1"/>
          </p:cNvGraphicFramePr>
          <p:nvPr>
            <p:custDataLst>
              <p:tags r:id="rId2"/>
            </p:custDataLst>
            <p:extLst>
              <p:ext uri="{D42A27DB-BD31-4B8C-83A1-F6EECF244321}">
                <p14:modId xmlns:p14="http://schemas.microsoft.com/office/powerpoint/2010/main" val="3299262831"/>
              </p:ext>
            </p:extLst>
          </p:nvPr>
        </p:nvGraphicFramePr>
        <p:xfrm>
          <a:off x="5171997" y="3597205"/>
          <a:ext cx="4331954" cy="1477695"/>
        </p:xfrm>
        <a:graphic>
          <a:graphicData uri="http://schemas.openxmlformats.org/drawingml/2006/table">
            <a:tbl>
              <a:tblPr>
                <a:tableStyleId>{616DA210-FB5B-4158-B5E0-FEB733F419BA}</a:tableStyleId>
              </a:tblPr>
              <a:tblGrid>
                <a:gridCol w="3174273"/>
                <a:gridCol w="1157681"/>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u="none" strike="noStrike" kern="1200" cap="none" normalizeH="0" baseline="0" noProof="0" dirty="0" smtClean="0">
                          <a:ln>
                            <a:noFill/>
                          </a:ln>
                          <a:solidFill>
                            <a:schemeClr val="accent2"/>
                          </a:solidFill>
                          <a:effectLst/>
                        </a:rPr>
                        <a:t>vs </a:t>
                      </a:r>
                    </a:p>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1" i="0" u="none" strike="noStrike" kern="1200" cap="none" normalizeH="0" baseline="0" noProof="0" dirty="0" smtClean="0">
                          <a:ln>
                            <a:noFill/>
                          </a:ln>
                          <a:solidFill>
                            <a:schemeClr val="accent2"/>
                          </a:solidFill>
                          <a:effectLst/>
                          <a:latin typeface="Arial" charset="0"/>
                          <a:ea typeface=""/>
                          <a:cs typeface=""/>
                        </a:rPr>
                        <a:t>EURO STOXX</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Correlation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97</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racking error (3y)</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4.43%</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eta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92</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4" name="Rectangle 2"/>
          <p:cNvSpPr>
            <a:spLocks noChangeArrowheads="1"/>
          </p:cNvSpPr>
          <p:nvPr/>
        </p:nvSpPr>
        <p:spPr bwMode="auto">
          <a:xfrm>
            <a:off x="3657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Index fundamentals</a:t>
            </a:r>
            <a:r>
              <a:rPr lang="en-US" sz="1600" baseline="30000" dirty="0" smtClean="0">
                <a:solidFill>
                  <a:schemeClr val="bg1"/>
                </a:solidFill>
              </a:rPr>
              <a:t>1)</a:t>
            </a:r>
            <a:endParaRPr lang="en-US" sz="1600" baseline="30000" dirty="0">
              <a:solidFill>
                <a:schemeClr val="bg1"/>
              </a:solidFill>
            </a:endParaRPr>
          </a:p>
        </p:txBody>
      </p:sp>
      <p:graphicFrame>
        <p:nvGraphicFramePr>
          <p:cNvPr id="16" name="Group 62"/>
          <p:cNvGraphicFramePr>
            <a:graphicFrameLocks noGrp="1"/>
          </p:cNvGraphicFramePr>
          <p:nvPr>
            <p:custDataLst>
              <p:tags r:id="rId3"/>
            </p:custDataLst>
            <p:extLst>
              <p:ext uri="{D42A27DB-BD31-4B8C-83A1-F6EECF244321}">
                <p14:modId xmlns:p14="http://schemas.microsoft.com/office/powerpoint/2010/main" val="1168659102"/>
              </p:ext>
            </p:extLst>
          </p:nvPr>
        </p:nvGraphicFramePr>
        <p:xfrm>
          <a:off x="365760" y="2225820"/>
          <a:ext cx="4358640" cy="2505387"/>
        </p:xfrm>
        <a:graphic>
          <a:graphicData uri="http://schemas.openxmlformats.org/drawingml/2006/table">
            <a:tbl>
              <a:tblPr>
                <a:tableStyleId>{616DA210-FB5B-4158-B5E0-FEB733F419BA}</a:tableStyleId>
              </a:tblPr>
              <a:tblGrid>
                <a:gridCol w="1863090"/>
                <a:gridCol w="1228725"/>
                <a:gridCol w="1266825"/>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EURO STOXX Select Dividend 30</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2"/>
                          </a:solidFill>
                          <a:effectLst/>
                          <a:latin typeface="Arial" charset="0"/>
                          <a:ea typeface=""/>
                          <a:cs typeface=""/>
                        </a:rPr>
                        <a:t>EURO STOXX</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Gross </a:t>
                      </a: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dividend yield</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4.72%</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3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trailing)</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3.5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21.6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projected)</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5.19</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5.75</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book</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60</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6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sales</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9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0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cash flow</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8.14</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8.06</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5" name="Rectangle 6"/>
          <p:cNvSpPr>
            <a:spLocks noChangeArrowheads="1"/>
          </p:cNvSpPr>
          <p:nvPr/>
        </p:nvSpPr>
        <p:spPr bwMode="auto">
          <a:xfrm>
            <a:off x="7213906" y="5695340"/>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EURO STOXX (EUR Gross Return)</a:t>
            </a:r>
            <a:endParaRPr lang="en-US" sz="1000" dirty="0"/>
          </a:p>
        </p:txBody>
      </p:sp>
      <p:sp>
        <p:nvSpPr>
          <p:cNvPr id="18" name="Rectangle 6"/>
          <p:cNvSpPr>
            <a:spLocks noChangeArrowheads="1"/>
          </p:cNvSpPr>
          <p:nvPr/>
        </p:nvSpPr>
        <p:spPr bwMode="auto">
          <a:xfrm>
            <a:off x="373173" y="5680359"/>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EURO STOXX Select Dividend 30 (EUR Gross Return)</a:t>
            </a:r>
            <a:endParaRPr lang="en-US" sz="1000" dirty="0"/>
          </a:p>
        </p:txBody>
      </p:sp>
    </p:spTree>
    <p:extLst>
      <p:ext uri="{BB962C8B-B14F-4D97-AF65-F5344CB8AC3E}">
        <p14:creationId xmlns:p14="http://schemas.microsoft.com/office/powerpoint/2010/main" val="1468242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737360" y="6400800"/>
            <a:ext cx="7680960" cy="146194"/>
          </a:xfrm>
          <a:prstGeom prst="rect">
            <a:avLst/>
          </a:prstGeom>
          <a:noFill/>
          <a:ln w="9525">
            <a:noFill/>
            <a:miter lim="800000"/>
            <a:headEnd/>
            <a:tailEnd/>
          </a:ln>
        </p:spPr>
        <p:txBody>
          <a:bodyPr lIns="0" tIns="0" rIns="0" bIns="0" anchor="t" anchorCtr="0">
            <a:spAutoFit/>
          </a:bodyPr>
          <a:lstStyle/>
          <a:p>
            <a:pPr marL="164592"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Oct. 30, 2015 </a:t>
            </a:r>
          </a:p>
        </p:txBody>
      </p:sp>
      <p:sp>
        <p:nvSpPr>
          <p:cNvPr id="10" name="Title 1"/>
          <p:cNvSpPr>
            <a:spLocks noGrp="1"/>
          </p:cNvSpPr>
          <p:nvPr>
            <p:ph type="title"/>
          </p:nvPr>
        </p:nvSpPr>
        <p:spPr/>
        <p:txBody>
          <a:bodyPr/>
          <a:lstStyle/>
          <a:p>
            <a:r>
              <a:rPr lang="en-US" dirty="0" err="1" smtClean="0"/>
              <a:t>Supersector</a:t>
            </a:r>
            <a:r>
              <a:rPr lang="en-US" dirty="0" smtClean="0"/>
              <a:t> and country allocation</a:t>
            </a:r>
            <a:endParaRPr lang="en-GB" dirty="0"/>
          </a:p>
        </p:txBody>
      </p:sp>
      <p:sp>
        <p:nvSpPr>
          <p:cNvPr id="11" name="Rectangle 2"/>
          <p:cNvSpPr>
            <a:spLocks noChangeArrowheads="1"/>
          </p:cNvSpPr>
          <p:nvPr/>
        </p:nvSpPr>
        <p:spPr bwMode="auto">
          <a:xfrm>
            <a:off x="365760"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err="1" smtClean="0">
                <a:solidFill>
                  <a:srgbClr val="FFFFFF"/>
                </a:solidFill>
              </a:rPr>
              <a:t>Supersector</a:t>
            </a:r>
            <a:r>
              <a:rPr lang="en-US" sz="1600" b="1" dirty="0" smtClean="0">
                <a:solidFill>
                  <a:srgbClr val="FFFFFF"/>
                </a:solidFill>
              </a:rPr>
              <a:t> allocation</a:t>
            </a:r>
            <a:r>
              <a:rPr lang="en-US" sz="1600" baseline="30000" dirty="0">
                <a:solidFill>
                  <a:schemeClr val="bg1"/>
                </a:solidFill>
              </a:rPr>
              <a:t>1)</a:t>
            </a:r>
            <a:endParaRPr lang="en-US" sz="1600" b="1" dirty="0">
              <a:solidFill>
                <a:srgbClr val="FFFFFF"/>
              </a:solidFill>
            </a:endParaRPr>
          </a:p>
        </p:txBody>
      </p:sp>
      <p:sp>
        <p:nvSpPr>
          <p:cNvPr id="12" name="Rectangle 2"/>
          <p:cNvSpPr>
            <a:spLocks noChangeArrowheads="1"/>
          </p:cNvSpPr>
          <p:nvPr/>
        </p:nvSpPr>
        <p:spPr bwMode="auto">
          <a:xfrm>
            <a:off x="5166359"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Country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graphicFrame>
        <p:nvGraphicFramePr>
          <p:cNvPr id="18" name="Chart 17"/>
          <p:cNvGraphicFramePr/>
          <p:nvPr>
            <p:extLst>
              <p:ext uri="{D42A27DB-BD31-4B8C-83A1-F6EECF244321}">
                <p14:modId xmlns:p14="http://schemas.microsoft.com/office/powerpoint/2010/main" val="244011335"/>
              </p:ext>
            </p:extLst>
          </p:nvPr>
        </p:nvGraphicFramePr>
        <p:xfrm>
          <a:off x="299259" y="2222778"/>
          <a:ext cx="5120466" cy="38417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p:nvPr>
            <p:extLst>
              <p:ext uri="{D42A27DB-BD31-4B8C-83A1-F6EECF244321}">
                <p14:modId xmlns:p14="http://schemas.microsoft.com/office/powerpoint/2010/main" val="1555608124"/>
              </p:ext>
            </p:extLst>
          </p:nvPr>
        </p:nvGraphicFramePr>
        <p:xfrm>
          <a:off x="4953794" y="2222778"/>
          <a:ext cx="4526107" cy="384178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924197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p:txBody>
          <a:bodyPr/>
          <a:lstStyle/>
          <a:p>
            <a:pPr eaLnBrk="1" hangingPunct="1"/>
            <a:r>
              <a:rPr lang="en-US" dirty="0" smtClean="0"/>
              <a:t>Top 10 components by weight</a:t>
            </a:r>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2445574459"/>
              </p:ext>
            </p:extLst>
          </p:nvPr>
        </p:nvGraphicFramePr>
        <p:xfrm>
          <a:off x="542611" y="1876839"/>
          <a:ext cx="8784269" cy="3996311"/>
        </p:xfrm>
        <a:graphic>
          <a:graphicData uri="http://schemas.openxmlformats.org/drawingml/2006/table">
            <a:tbl>
              <a:tblPr>
                <a:tableStyleId>{616DA210-FB5B-4158-B5E0-FEB733F419BA}</a:tableStyleId>
              </a:tblPr>
              <a:tblGrid>
                <a:gridCol w="2761067"/>
                <a:gridCol w="2279674"/>
                <a:gridCol w="1735792"/>
                <a:gridCol w="2007736"/>
              </a:tblGrid>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Name</a:t>
                      </a:r>
                      <a:r>
                        <a:rPr kumimoji="0" lang="en-US" sz="1400" b="0" i="0" u="none" strike="noStrike" kern="1200" cap="none" normalizeH="0" baseline="30000" noProof="0" dirty="0" smtClean="0">
                          <a:ln>
                            <a:noFill/>
                          </a:ln>
                          <a:solidFill>
                            <a:schemeClr val="bg1"/>
                          </a:solidFill>
                          <a:effectLst/>
                          <a:latin typeface="Arial" panose="020B0604020202020204" pitchFamily="34" charset="0"/>
                          <a:ea typeface=""/>
                          <a:cs typeface="Arial" panose="020B0604020202020204" pitchFamily="34" charset="0"/>
                        </a:rPr>
                        <a:t>1)</a:t>
                      </a:r>
                      <a:endParaRPr kumimoji="0" lang="en-US" sz="1400" b="0" i="0" u="none" strike="noStrike" cap="none" normalizeH="0" baseline="30000" noProof="0" dirty="0" smtClean="0">
                        <a:ln>
                          <a:noFill/>
                        </a:ln>
                        <a:solidFill>
                          <a:schemeClr val="tx1"/>
                        </a:solidFill>
                        <a:effectLst/>
                        <a:latin typeface="Arial" charset="0"/>
                      </a:endParaRPr>
                    </a:p>
                  </a:txBody>
                  <a:tcPr marR="0" marT="0" marB="0" anchor="ctr" horzOverflow="overflow">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Indus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Coun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Weight</a:t>
                      </a:r>
                      <a:endParaRPr kumimoji="0" lang="en-US" sz="1400" b="1" i="0" u="none" strike="noStrike" kern="1200" cap="none" normalizeH="0" baseline="0" noProof="0" dirty="0">
                        <a:ln>
                          <a:noFill/>
                        </a:ln>
                        <a:solidFill>
                          <a:schemeClr val="bg1"/>
                        </a:solidFill>
                        <a:effectLst/>
                        <a:latin typeface="Arial" charset="0"/>
                        <a:ea typeface=""/>
                        <a:cs typeface=""/>
                      </a:endParaRPr>
                    </a:p>
                  </a:txBody>
                  <a:tcPr marR="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363301">
                <a:tc>
                  <a:txBody>
                    <a:bodyPr/>
                    <a:lstStyle/>
                    <a:p>
                      <a:pPr algn="l" rtl="0" fontAlgn="ctr"/>
                      <a:r>
                        <a:rPr lang="en-US" sz="1400" b="0" i="0" u="none" strike="noStrike">
                          <a:solidFill>
                            <a:srgbClr val="000000"/>
                          </a:solidFill>
                          <a:effectLst/>
                          <a:latin typeface="Arial"/>
                        </a:rPr>
                        <a:t>ENI</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Oil &amp; Ga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IT</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5.48%</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algn="l" rtl="0" fontAlgn="ctr"/>
                      <a:r>
                        <a:rPr lang="en-US" sz="1400" b="0" i="0" u="none" strike="noStrike">
                          <a:solidFill>
                            <a:srgbClr val="000000"/>
                          </a:solidFill>
                          <a:effectLst/>
                          <a:latin typeface="Arial"/>
                        </a:rPr>
                        <a:t>SNAM RETE GAS</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Utiliti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IT</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5.15%</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algn="l" rtl="0" fontAlgn="ctr"/>
                      <a:r>
                        <a:rPr lang="en-US" sz="1400" b="0" i="0" u="none" strike="noStrike">
                          <a:solidFill>
                            <a:srgbClr val="000000"/>
                          </a:solidFill>
                          <a:effectLst/>
                          <a:latin typeface="Arial"/>
                        </a:rPr>
                        <a:t>EDP ENERGIAS DE PORTUGAL</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Utilitie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PT</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4.53%</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algn="l" rtl="0" fontAlgn="ctr"/>
                      <a:r>
                        <a:rPr lang="en-US" sz="1400" b="0" i="0" u="none" strike="noStrike">
                          <a:solidFill>
                            <a:srgbClr val="000000"/>
                          </a:solidFill>
                          <a:effectLst/>
                          <a:latin typeface="Arial"/>
                        </a:rPr>
                        <a:t>ALLIANZ</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Insuranc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D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4.21%</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algn="l" rtl="0" fontAlgn="ctr"/>
                      <a:r>
                        <a:rPr lang="en-US" sz="1400" b="0" i="0" u="none" strike="noStrike">
                          <a:solidFill>
                            <a:srgbClr val="000000"/>
                          </a:solidFill>
                          <a:effectLst/>
                          <a:latin typeface="Arial"/>
                        </a:rPr>
                        <a:t>TOTAL</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Oil &amp; Ga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FR</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4.17%</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algn="l" rtl="0" fontAlgn="ctr"/>
                      <a:r>
                        <a:rPr lang="en-US" sz="1400" b="0" i="0" u="none" strike="noStrike">
                          <a:solidFill>
                            <a:srgbClr val="000000"/>
                          </a:solidFill>
                          <a:effectLst/>
                          <a:latin typeface="Arial"/>
                        </a:rPr>
                        <a:t>SCOR</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Insuranc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FR</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4.15%</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algn="l" rtl="0" fontAlgn="ctr"/>
                      <a:r>
                        <a:rPr lang="en-US" sz="1400" b="0" i="0" u="none" strike="noStrike">
                          <a:solidFill>
                            <a:srgbClr val="000000"/>
                          </a:solidFill>
                          <a:effectLst/>
                          <a:latin typeface="Arial"/>
                        </a:rPr>
                        <a:t>PROXIMUS</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Telecommunications</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B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3.95%</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algn="l" rtl="0" fontAlgn="ctr"/>
                      <a:r>
                        <a:rPr lang="en-US" sz="1400" b="0" i="0" u="none" strike="noStrike">
                          <a:solidFill>
                            <a:srgbClr val="000000"/>
                          </a:solidFill>
                          <a:effectLst/>
                          <a:latin typeface="Arial"/>
                        </a:rPr>
                        <a:t>VIVENDI</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Media</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FR</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3.92%</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algn="l" rtl="0" fontAlgn="ctr"/>
                      <a:r>
                        <a:rPr lang="en-US" sz="1400" b="0" i="0" u="none" strike="noStrike">
                          <a:solidFill>
                            <a:srgbClr val="000000"/>
                          </a:solidFill>
                          <a:effectLst/>
                          <a:latin typeface="Arial"/>
                        </a:rPr>
                        <a:t>AXA</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Insuranc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FR</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3.74%</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algn="l" rtl="0" fontAlgn="ctr"/>
                      <a:r>
                        <a:rPr lang="en-US" sz="1400" b="0" i="0" u="none" strike="noStrike">
                          <a:solidFill>
                            <a:srgbClr val="000000"/>
                          </a:solidFill>
                          <a:effectLst/>
                          <a:latin typeface="Arial"/>
                        </a:rPr>
                        <a:t>HANNOVER RUECK</a:t>
                      </a:r>
                    </a:p>
                  </a:txBody>
                  <a:tcPr marL="9525" marR="9525" marT="9525"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Insuranc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a:solidFill>
                            <a:srgbClr val="000000"/>
                          </a:solidFill>
                          <a:effectLst/>
                          <a:latin typeface="Arial"/>
                        </a:rPr>
                        <a:t>DE</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r>
                        <a:rPr lang="en-US" sz="1400" b="0" i="0" u="none" strike="noStrike" dirty="0">
                          <a:solidFill>
                            <a:srgbClr val="000000"/>
                          </a:solidFill>
                          <a:effectLst/>
                          <a:latin typeface="Arial"/>
                        </a:rPr>
                        <a:t>3.55%</a:t>
                      </a:r>
                    </a:p>
                  </a:txBody>
                  <a:tcPr marL="9525" marR="9525" marT="9525"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ext Box 150"/>
          <p:cNvSpPr txBox="1">
            <a:spLocks noChangeArrowheads="1"/>
          </p:cNvSpPr>
          <p:nvPr/>
        </p:nvSpPr>
        <p:spPr bwMode="auto">
          <a:xfrm>
            <a:off x="1737360" y="6400800"/>
            <a:ext cx="7589520" cy="365760"/>
          </a:xfrm>
          <a:prstGeom prst="rect">
            <a:avLst/>
          </a:prstGeom>
          <a:noFill/>
          <a:ln w="9525">
            <a:noFill/>
            <a:miter lim="800000"/>
            <a:headEnd/>
            <a:tailEnd/>
          </a:ln>
        </p:spPr>
        <p:txBody>
          <a:bodyPr lIns="0" tIns="0" rIns="0" bIns="0" anchor="t" anchorCtr="0">
            <a:noAutofit/>
          </a:bodyPr>
          <a:lstStyle/>
          <a:p>
            <a:pPr marL="164592" indent="-164592">
              <a:lnSpc>
                <a:spcPct val="95000"/>
              </a:lnSpc>
              <a:spcBef>
                <a:spcPct val="0"/>
              </a:spcBef>
              <a:buFont typeface="+mj-lt"/>
              <a:buAutoNum type="arabicParenR"/>
            </a:pPr>
            <a:r>
              <a:rPr lang="en-US" sz="1000" dirty="0" smtClean="0">
                <a:solidFill>
                  <a:srgbClr val="AFAFAF"/>
                </a:solidFill>
              </a:rPr>
              <a:t>STOXX data as of Oct. 30, 2015 </a:t>
            </a:r>
            <a:endParaRPr lang="en-US" sz="1000" dirty="0">
              <a:solidFill>
                <a:srgbClr val="D80F5F"/>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9"/>
          <p:cNvGrpSpPr>
            <a:grpSpLocks/>
          </p:cNvGrpSpPr>
          <p:nvPr/>
        </p:nvGrpSpPr>
        <p:grpSpPr bwMode="auto">
          <a:xfrm>
            <a:off x="735016" y="1548286"/>
            <a:ext cx="8124868" cy="4260869"/>
            <a:chOff x="463" y="754"/>
            <a:chExt cx="5118" cy="2684"/>
          </a:xfrm>
          <a:solidFill>
            <a:schemeClr val="bg2"/>
          </a:solidFill>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3" name="Group 585"/>
            <p:cNvGrpSpPr>
              <a:grpSpLocks/>
            </p:cNvGrpSpPr>
            <p:nvPr>
              <p:custDataLst>
                <p:tags r:id="rId16"/>
              </p:custDataLst>
            </p:nvPr>
          </p:nvGrpSpPr>
          <p:grpSpPr bwMode="auto">
            <a:xfrm>
              <a:off x="4443" y="2149"/>
              <a:ext cx="323" cy="134"/>
              <a:chOff x="4488" y="2394"/>
              <a:chExt cx="358" cy="124"/>
            </a:xfrm>
            <a:grpFill/>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4" name="Group 604"/>
            <p:cNvGrpSpPr>
              <a:grpSpLocks/>
            </p:cNvGrpSpPr>
            <p:nvPr>
              <p:custDataLst>
                <p:tags r:id="rId33"/>
              </p:custDataLst>
            </p:nvPr>
          </p:nvGrpSpPr>
          <p:grpSpPr bwMode="auto">
            <a:xfrm>
              <a:off x="1847" y="3336"/>
              <a:ext cx="45" cy="35"/>
              <a:chOff x="1654" y="3671"/>
              <a:chExt cx="49" cy="17"/>
            </a:xfrm>
            <a:grpFill/>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3" name="Line 614"/>
            <p:cNvSpPr>
              <a:spLocks noChangeShapeType="1"/>
            </p:cNvSpPr>
            <p:nvPr>
              <p:custDataLst>
                <p:tags r:id="rId41"/>
              </p:custDataLst>
            </p:nvPr>
          </p:nvSpPr>
          <p:spPr bwMode="auto">
            <a:xfrm flipH="1">
              <a:off x="1688" y="1973"/>
              <a:ext cx="4" cy="7"/>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5" name="Group 624"/>
            <p:cNvGrpSpPr>
              <a:grpSpLocks/>
            </p:cNvGrpSpPr>
            <p:nvPr>
              <p:custDataLst>
                <p:tags r:id="rId51"/>
              </p:custDataLst>
            </p:nvPr>
          </p:nvGrpSpPr>
          <p:grpSpPr bwMode="auto">
            <a:xfrm>
              <a:off x="1428" y="1775"/>
              <a:ext cx="90" cy="123"/>
              <a:chOff x="1199" y="2121"/>
              <a:chExt cx="97" cy="123"/>
            </a:xfrm>
            <a:grpFill/>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6" name="Group 639"/>
            <p:cNvGrpSpPr>
              <a:grpSpLocks/>
            </p:cNvGrpSpPr>
            <p:nvPr>
              <p:custDataLst>
                <p:tags r:id="rId56"/>
              </p:custDataLst>
            </p:nvPr>
          </p:nvGrpSpPr>
          <p:grpSpPr bwMode="auto">
            <a:xfrm>
              <a:off x="5268" y="2985"/>
              <a:ext cx="313" cy="255"/>
              <a:chOff x="5372" y="3323"/>
              <a:chExt cx="341" cy="253"/>
            </a:xfrm>
            <a:grpFill/>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1" name="Line 655"/>
            <p:cNvSpPr>
              <a:spLocks noChangeShapeType="1"/>
            </p:cNvSpPr>
            <p:nvPr>
              <p:custDataLst>
                <p:tags r:id="rId69"/>
              </p:custDataLst>
            </p:nvPr>
          </p:nvSpPr>
          <p:spPr bwMode="auto">
            <a:xfrm>
              <a:off x="5325" y="2512"/>
              <a:ext cx="1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7" name="Group 660"/>
            <p:cNvGrpSpPr>
              <a:grpSpLocks/>
            </p:cNvGrpSpPr>
            <p:nvPr>
              <p:custDataLst>
                <p:tags r:id="rId74"/>
              </p:custDataLst>
            </p:nvPr>
          </p:nvGrpSpPr>
          <p:grpSpPr bwMode="auto">
            <a:xfrm>
              <a:off x="5273" y="2121"/>
              <a:ext cx="111" cy="72"/>
              <a:chOff x="5379" y="2466"/>
              <a:chExt cx="122" cy="71"/>
            </a:xfrm>
            <a:grpFill/>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9" name="Line 666"/>
              <p:cNvSpPr>
                <a:spLocks noChangeShapeType="1"/>
              </p:cNvSpPr>
              <p:nvPr/>
            </p:nvSpPr>
            <p:spPr bwMode="auto">
              <a:xfrm flipH="1">
                <a:off x="5496" y="2490"/>
                <a:ext cx="5"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1" name="Line 668"/>
              <p:cNvSpPr>
                <a:spLocks noChangeShapeType="1"/>
              </p:cNvSpPr>
              <p:nvPr/>
            </p:nvSpPr>
            <p:spPr bwMode="auto">
              <a:xfrm>
                <a:off x="5464" y="2530"/>
                <a:ext cx="1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8" name="Group 683"/>
            <p:cNvGrpSpPr>
              <a:grpSpLocks/>
            </p:cNvGrpSpPr>
            <p:nvPr>
              <p:custDataLst>
                <p:tags r:id="rId88"/>
              </p:custDataLst>
            </p:nvPr>
          </p:nvGrpSpPr>
          <p:grpSpPr bwMode="auto">
            <a:xfrm>
              <a:off x="3962" y="2085"/>
              <a:ext cx="31" cy="236"/>
              <a:chOff x="3950" y="2430"/>
              <a:chExt cx="36" cy="234"/>
            </a:xfrm>
            <a:grpFill/>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6" name="Rectangle 687"/>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0" name="Line 691"/>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3" name="Line 694"/>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1" name="Rectangle 702"/>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5" name="Line 706"/>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8" name="Line 709"/>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a:grpFill/>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0" name="Group 730"/>
            <p:cNvGrpSpPr>
              <a:grpSpLocks/>
            </p:cNvGrpSpPr>
            <p:nvPr>
              <p:custDataLst>
                <p:tags r:id="rId95"/>
              </p:custDataLst>
            </p:nvPr>
          </p:nvGrpSpPr>
          <p:grpSpPr bwMode="auto">
            <a:xfrm>
              <a:off x="1497" y="2045"/>
              <a:ext cx="221" cy="253"/>
              <a:chOff x="1486" y="2412"/>
              <a:chExt cx="244" cy="256"/>
            </a:xfrm>
            <a:grpFill/>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0" name="Line 737"/>
            <p:cNvSpPr>
              <a:spLocks noChangeShapeType="1"/>
            </p:cNvSpPr>
            <p:nvPr>
              <p:custDataLst>
                <p:tags r:id="rId98"/>
              </p:custDataLst>
            </p:nvPr>
          </p:nvSpPr>
          <p:spPr bwMode="auto">
            <a:xfrm flipV="1">
              <a:off x="5065" y="3098"/>
              <a:ext cx="1"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1" name="Group 848"/>
            <p:cNvGrpSpPr>
              <a:grpSpLocks/>
            </p:cNvGrpSpPr>
            <p:nvPr>
              <p:custDataLst>
                <p:tags r:id="rId209"/>
              </p:custDataLst>
            </p:nvPr>
          </p:nvGrpSpPr>
          <p:grpSpPr bwMode="auto">
            <a:xfrm>
              <a:off x="4733" y="1928"/>
              <a:ext cx="159" cy="277"/>
              <a:chOff x="5062" y="2295"/>
              <a:chExt cx="177" cy="279"/>
            </a:xfrm>
            <a:grpFill/>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1" name="Line 864"/>
              <p:cNvSpPr>
                <a:spLocks noChangeShapeType="1"/>
              </p:cNvSpPr>
              <p:nvPr/>
            </p:nvSpPr>
            <p:spPr bwMode="auto">
              <a:xfrm>
                <a:off x="5180" y="2449"/>
                <a:ext cx="1" cy="10"/>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3" name="Line 866"/>
              <p:cNvSpPr>
                <a:spLocks noChangeShapeType="1"/>
              </p:cNvSpPr>
              <p:nvPr/>
            </p:nvSpPr>
            <p:spPr bwMode="auto">
              <a:xfrm flipH="1" flipV="1">
                <a:off x="5178" y="2447"/>
                <a:ext cx="7"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9" name="Line 872"/>
              <p:cNvSpPr>
                <a:spLocks noChangeShapeType="1"/>
              </p:cNvSpPr>
              <p:nvPr/>
            </p:nvSpPr>
            <p:spPr bwMode="auto">
              <a:xfrm flipV="1">
                <a:off x="5191" y="2516"/>
                <a:ext cx="6"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2" name="Group 928"/>
            <p:cNvGrpSpPr>
              <a:grpSpLocks/>
            </p:cNvGrpSpPr>
            <p:nvPr>
              <p:custDataLst>
                <p:tags r:id="rId265"/>
              </p:custDataLst>
            </p:nvPr>
          </p:nvGrpSpPr>
          <p:grpSpPr bwMode="auto">
            <a:xfrm>
              <a:off x="1166" y="2282"/>
              <a:ext cx="285" cy="127"/>
              <a:chOff x="912" y="2626"/>
              <a:chExt cx="311" cy="127"/>
            </a:xfrm>
            <a:grpFill/>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3" name="Group 934"/>
            <p:cNvGrpSpPr>
              <a:grpSpLocks/>
            </p:cNvGrpSpPr>
            <p:nvPr>
              <p:custDataLst>
                <p:tags r:id="rId268"/>
              </p:custDataLst>
            </p:nvPr>
          </p:nvGrpSpPr>
          <p:grpSpPr bwMode="auto">
            <a:xfrm>
              <a:off x="3527" y="2431"/>
              <a:ext cx="115" cy="65"/>
              <a:chOff x="3481" y="2773"/>
              <a:chExt cx="125" cy="65"/>
            </a:xfrm>
            <a:grpFill/>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3" name="Line 936"/>
              <p:cNvSpPr>
                <a:spLocks noChangeShapeType="1"/>
              </p:cNvSpPr>
              <p:nvPr/>
            </p:nvSpPr>
            <p:spPr bwMode="auto">
              <a:xfrm>
                <a:off x="3583" y="2800"/>
                <a:ext cx="2"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7" name="Line 940"/>
              <p:cNvSpPr>
                <a:spLocks noChangeShapeType="1"/>
              </p:cNvSpPr>
              <p:nvPr/>
            </p:nvSpPr>
            <p:spPr bwMode="auto">
              <a:xfrm>
                <a:off x="3603" y="2773"/>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4" name="Group 950"/>
            <p:cNvGrpSpPr>
              <a:grpSpLocks/>
            </p:cNvGrpSpPr>
            <p:nvPr>
              <p:custDataLst>
                <p:tags r:id="rId273"/>
              </p:custDataLst>
            </p:nvPr>
          </p:nvGrpSpPr>
          <p:grpSpPr bwMode="auto">
            <a:xfrm>
              <a:off x="2280" y="1976"/>
              <a:ext cx="56" cy="52"/>
              <a:chOff x="2352" y="2343"/>
              <a:chExt cx="65" cy="53"/>
            </a:xfrm>
            <a:grpFill/>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a:grpFill/>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6" name="Group 1004"/>
            <p:cNvGrpSpPr>
              <a:grpSpLocks/>
            </p:cNvGrpSpPr>
            <p:nvPr>
              <p:custDataLst>
                <p:tags r:id="rId279"/>
              </p:custDataLst>
            </p:nvPr>
          </p:nvGrpSpPr>
          <p:grpSpPr bwMode="auto">
            <a:xfrm>
              <a:off x="1590" y="2754"/>
              <a:ext cx="263" cy="650"/>
              <a:chOff x="1589" y="3126"/>
              <a:chExt cx="290" cy="657"/>
            </a:xfrm>
            <a:grpFill/>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7" name="Group 1090"/>
            <p:cNvGrpSpPr>
              <a:grpSpLocks/>
            </p:cNvGrpSpPr>
            <p:nvPr>
              <p:custDataLst>
                <p:tags r:id="rId362"/>
              </p:custDataLst>
            </p:nvPr>
          </p:nvGrpSpPr>
          <p:grpSpPr bwMode="auto">
            <a:xfrm>
              <a:off x="3952" y="1190"/>
              <a:ext cx="458" cy="242"/>
              <a:chOff x="4115" y="1551"/>
              <a:chExt cx="504" cy="244"/>
            </a:xfrm>
            <a:grpFill/>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8" name="Group 1101"/>
            <p:cNvGrpSpPr>
              <a:grpSpLocks/>
            </p:cNvGrpSpPr>
            <p:nvPr>
              <p:custDataLst>
                <p:tags r:id="rId371"/>
              </p:custDataLst>
            </p:nvPr>
          </p:nvGrpSpPr>
          <p:grpSpPr bwMode="auto">
            <a:xfrm>
              <a:off x="3128" y="1467"/>
              <a:ext cx="329" cy="127"/>
              <a:chOff x="3289" y="1830"/>
              <a:chExt cx="363" cy="128"/>
            </a:xfrm>
            <a:grpFill/>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35" name="Rectangle 3"/>
          <p:cNvSpPr>
            <a:spLocks noGrp="1" noChangeArrowheads="1"/>
          </p:cNvSpPr>
          <p:nvPr>
            <p:ph type="title"/>
          </p:nvPr>
        </p:nvSpPr>
        <p:spPr/>
        <p:txBody>
          <a:bodyPr/>
          <a:lstStyle/>
          <a:p>
            <a:pPr eaLnBrk="1" hangingPunct="1"/>
            <a:r>
              <a:rPr lang="en-US" dirty="0" smtClean="0"/>
              <a:t>STOXX sales contacts</a:t>
            </a:r>
          </a:p>
        </p:txBody>
      </p:sp>
      <p:sp>
        <p:nvSpPr>
          <p:cNvPr id="18437" name="Rectangle 258"/>
          <p:cNvSpPr>
            <a:spLocks noChangeArrowheads="1"/>
          </p:cNvSpPr>
          <p:nvPr/>
        </p:nvSpPr>
        <p:spPr bwMode="auto">
          <a:xfrm>
            <a:off x="5511800" y="4037014"/>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0" name="Rectangle 489"/>
          <p:cNvSpPr>
            <a:spLocks noChangeArrowheads="1"/>
          </p:cNvSpPr>
          <p:nvPr/>
        </p:nvSpPr>
        <p:spPr bwMode="auto">
          <a:xfrm>
            <a:off x="1907382" y="4270378"/>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2" name="Rectangle 569"/>
          <p:cNvSpPr>
            <a:spLocks noChangeArrowheads="1"/>
          </p:cNvSpPr>
          <p:nvPr/>
        </p:nvSpPr>
        <p:spPr bwMode="auto">
          <a:xfrm>
            <a:off x="368300" y="3535223"/>
            <a:ext cx="2880360"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d Jones</a:t>
            </a:r>
          </a:p>
          <a:p>
            <a:pPr eaLnBrk="0" hangingPunct="0">
              <a:spcBef>
                <a:spcPct val="0"/>
              </a:spcBef>
            </a:pPr>
            <a:r>
              <a:rPr lang="en-US" sz="1200" dirty="0">
                <a:solidFill>
                  <a:srgbClr val="000000"/>
                </a:solidFill>
                <a:ea typeface="ＭＳ Ｐゴシック" pitchFamily="34" charset="-128"/>
              </a:rPr>
              <a:t>Head of North America</a:t>
            </a:r>
          </a:p>
          <a:p>
            <a:pPr eaLnBrk="0" hangingPunct="0">
              <a:spcBef>
                <a:spcPct val="0"/>
              </a:spcBef>
            </a:pPr>
            <a:r>
              <a:rPr lang="en-US" sz="1200" dirty="0">
                <a:solidFill>
                  <a:srgbClr val="000000"/>
                </a:solidFill>
                <a:ea typeface="ＭＳ Ｐゴシック" pitchFamily="34" charset="-128"/>
              </a:rPr>
              <a:t>+1 212 669 6426</a:t>
            </a:r>
          </a:p>
          <a:p>
            <a:pPr eaLnBrk="0" hangingPunct="0">
              <a:spcBef>
                <a:spcPct val="0"/>
              </a:spcBef>
            </a:pPr>
            <a:r>
              <a:rPr lang="en-US" sz="1200" dirty="0">
                <a:solidFill>
                  <a:srgbClr val="000000"/>
                </a:solidFill>
                <a:ea typeface="ＭＳ Ｐゴシック" pitchFamily="34" charset="-128"/>
              </a:rPr>
              <a:t>+1 917 916 6027 (mobile)</a:t>
            </a:r>
          </a:p>
          <a:p>
            <a:pPr eaLnBrk="0" hangingPunct="0">
              <a:spcBef>
                <a:spcPct val="0"/>
              </a:spcBef>
            </a:pPr>
            <a:r>
              <a:rPr lang="en-US" sz="1200" dirty="0">
                <a:solidFill>
                  <a:srgbClr val="000000"/>
                </a:solidFill>
                <a:ea typeface="ＭＳ Ｐゴシック" pitchFamily="34" charset="-128"/>
              </a:rPr>
              <a:t>rod.jones@stoxx.com</a:t>
            </a:r>
          </a:p>
        </p:txBody>
      </p:sp>
      <p:sp>
        <p:nvSpPr>
          <p:cNvPr id="18444" name="Rectangle 489"/>
          <p:cNvSpPr>
            <a:spLocks noChangeArrowheads="1"/>
          </p:cNvSpPr>
          <p:nvPr/>
        </p:nvSpPr>
        <p:spPr bwMode="auto">
          <a:xfrm>
            <a:off x="6973888" y="2876550"/>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47" name="Rectangle 489"/>
          <p:cNvSpPr>
            <a:spLocks noChangeArrowheads="1"/>
          </p:cNvSpPr>
          <p:nvPr/>
        </p:nvSpPr>
        <p:spPr bwMode="auto">
          <a:xfrm>
            <a:off x="7245350" y="4643442"/>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570" name="Rectangle 2"/>
          <p:cNvSpPr>
            <a:spLocks noChangeArrowheads="1"/>
          </p:cNvSpPr>
          <p:nvPr/>
        </p:nvSpPr>
        <p:spPr bwMode="auto">
          <a:xfrm>
            <a:off x="368300"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mericas</a:t>
            </a:r>
            <a:endParaRPr lang="en-US" sz="1400" b="1" dirty="0">
              <a:solidFill>
                <a:srgbClr val="FFFFFF"/>
              </a:solidFill>
              <a:ea typeface="ＭＳ Ｐゴシック" pitchFamily="34" charset="-128"/>
            </a:endParaRPr>
          </a:p>
        </p:txBody>
      </p:sp>
      <p:sp>
        <p:nvSpPr>
          <p:cNvPr id="571" name="Rectangle 2"/>
          <p:cNvSpPr>
            <a:spLocks noChangeArrowheads="1"/>
          </p:cNvSpPr>
          <p:nvPr/>
        </p:nvSpPr>
        <p:spPr bwMode="auto">
          <a:xfrm>
            <a:off x="3511477" y="3117710"/>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EMEA</a:t>
            </a:r>
            <a:endParaRPr lang="en-US" sz="1400" b="1" dirty="0">
              <a:solidFill>
                <a:srgbClr val="FFFFFF"/>
              </a:solidFill>
              <a:ea typeface="ＭＳ Ｐゴシック" pitchFamily="34" charset="-128"/>
            </a:endParaRPr>
          </a:p>
        </p:txBody>
      </p:sp>
      <p:sp>
        <p:nvSpPr>
          <p:cNvPr id="572" name="Rectangle 2"/>
          <p:cNvSpPr>
            <a:spLocks noChangeArrowheads="1"/>
          </p:cNvSpPr>
          <p:nvPr/>
        </p:nvSpPr>
        <p:spPr bwMode="auto">
          <a:xfrm>
            <a:off x="6643827"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sia/Pacific </a:t>
            </a:r>
            <a:endParaRPr lang="en-US" sz="1400" b="1" dirty="0">
              <a:solidFill>
                <a:srgbClr val="FFFFFF"/>
              </a:solidFill>
              <a:ea typeface="ＭＳ Ｐゴシック" pitchFamily="34" charset="-128"/>
            </a:endParaRPr>
          </a:p>
        </p:txBody>
      </p:sp>
      <p:sp>
        <p:nvSpPr>
          <p:cNvPr id="576" name="Rectangle 569"/>
          <p:cNvSpPr>
            <a:spLocks noChangeArrowheads="1"/>
          </p:cNvSpPr>
          <p:nvPr/>
        </p:nvSpPr>
        <p:spPr bwMode="auto">
          <a:xfrm>
            <a:off x="6626532" y="3535223"/>
            <a:ext cx="3279468"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irley Low, </a:t>
            </a:r>
            <a:r>
              <a:rPr lang="ja-JP" altLang="en-US" sz="1200" b="1" dirty="0" smtClean="0">
                <a:solidFill>
                  <a:srgbClr val="000000"/>
                </a:solidFill>
              </a:rPr>
              <a:t>刘</a:t>
            </a:r>
            <a:r>
              <a:rPr lang="ja-JP" altLang="en-US" sz="1200" b="1" dirty="0">
                <a:solidFill>
                  <a:srgbClr val="000000"/>
                </a:solidFill>
              </a:rPr>
              <a:t>洧琁</a:t>
            </a:r>
            <a:r>
              <a:rPr lang="en-US" altLang="ja-JP" sz="1200" b="1" dirty="0" smtClean="0">
                <a:solidFill>
                  <a:srgbClr val="000000"/>
                </a:solidFill>
              </a:rPr>
              <a:t>, </a:t>
            </a:r>
            <a:r>
              <a:rPr lang="en-US" sz="1200" b="1" dirty="0" smtClean="0">
                <a:solidFill>
                  <a:srgbClr val="000000"/>
                </a:solidFill>
                <a:ea typeface="ＭＳ Ｐゴシック" pitchFamily="34" charset="-128"/>
              </a:rPr>
              <a:t>CFA, CAIA, FRM </a:t>
            </a:r>
          </a:p>
          <a:p>
            <a:pPr defTabSz="623888" eaLnBrk="0" hangingPunct="0">
              <a:spcBef>
                <a:spcPct val="0"/>
              </a:spcBef>
            </a:pPr>
            <a:r>
              <a:rPr lang="en-US" sz="1200" dirty="0" smtClean="0">
                <a:solidFill>
                  <a:prstClr val="black"/>
                </a:solidFill>
              </a:rPr>
              <a:t>Head</a:t>
            </a:r>
            <a:r>
              <a:rPr lang="en-GB" sz="1200" dirty="0" smtClean="0">
                <a:solidFill>
                  <a:prstClr val="black"/>
                </a:solidFill>
              </a:rPr>
              <a:t> </a:t>
            </a:r>
            <a:r>
              <a:rPr lang="en-US" sz="1200" dirty="0" smtClean="0">
                <a:solidFill>
                  <a:prstClr val="black"/>
                </a:solidFill>
              </a:rPr>
              <a:t>of Asia/Pacific</a:t>
            </a:r>
          </a:p>
          <a:p>
            <a:pPr defTabSz="623888" eaLnBrk="0" hangingPunct="0">
              <a:spcBef>
                <a:spcPct val="0"/>
              </a:spcBef>
            </a:pPr>
            <a:r>
              <a:rPr lang="en-US" sz="1200" dirty="0" smtClean="0">
                <a:solidFill>
                  <a:prstClr val="black"/>
                </a:solidFill>
              </a:rPr>
              <a:t>+</a:t>
            </a:r>
            <a:r>
              <a:rPr lang="en-US" sz="1200" dirty="0">
                <a:solidFill>
                  <a:prstClr val="black"/>
                </a:solidFill>
              </a:rPr>
              <a:t>41 58 399 4938</a:t>
            </a:r>
          </a:p>
          <a:p>
            <a:pPr defTabSz="623888" eaLnBrk="0" hangingPunct="0">
              <a:spcBef>
                <a:spcPct val="0"/>
              </a:spcBef>
            </a:pPr>
            <a:r>
              <a:rPr lang="en-US" sz="1200" dirty="0">
                <a:solidFill>
                  <a:prstClr val="black"/>
                </a:solidFill>
              </a:rPr>
              <a:t>+41 79 746 9519 (mobile)</a:t>
            </a:r>
            <a:endParaRPr lang="en-GB" sz="1200" dirty="0">
              <a:solidFill>
                <a:prstClr val="black"/>
              </a:solidFill>
            </a:endParaRPr>
          </a:p>
          <a:p>
            <a:pPr defTabSz="623888" eaLnBrk="0" hangingPunct="0">
              <a:spcBef>
                <a:spcPct val="0"/>
              </a:spcBef>
            </a:pPr>
            <a:r>
              <a:rPr lang="en-US" sz="1200" dirty="0" smtClean="0">
                <a:solidFill>
                  <a:prstClr val="black"/>
                </a:solidFill>
              </a:rPr>
              <a:t>shirley.low@stoxx.com</a:t>
            </a:r>
            <a:endParaRPr lang="en-US" sz="1200" dirty="0">
              <a:solidFill>
                <a:prstClr val="black"/>
              </a:solidFill>
            </a:endParaRPr>
          </a:p>
        </p:txBody>
      </p:sp>
      <p:sp>
        <p:nvSpPr>
          <p:cNvPr id="562" name="Rectangle 2"/>
          <p:cNvSpPr>
            <a:spLocks noChangeArrowheads="1"/>
          </p:cNvSpPr>
          <p:nvPr/>
        </p:nvSpPr>
        <p:spPr bwMode="auto">
          <a:xfrm>
            <a:off x="3512808" y="1266458"/>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Global</a:t>
            </a:r>
            <a:endParaRPr lang="en-US" sz="1400" b="1" dirty="0">
              <a:solidFill>
                <a:srgbClr val="FFFFFF"/>
              </a:solidFill>
              <a:ea typeface="ＭＳ Ｐゴシック" pitchFamily="34" charset="-128"/>
            </a:endParaRPr>
          </a:p>
        </p:txBody>
      </p:sp>
      <p:sp>
        <p:nvSpPr>
          <p:cNvPr id="563" name="Rectangle 569"/>
          <p:cNvSpPr>
            <a:spLocks noChangeArrowheads="1"/>
          </p:cNvSpPr>
          <p:nvPr/>
        </p:nvSpPr>
        <p:spPr bwMode="auto">
          <a:xfrm>
            <a:off x="3496906" y="1691922"/>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de-CH" sz="1200" b="1" dirty="0">
                <a:solidFill>
                  <a:prstClr val="black"/>
                </a:solidFill>
              </a:rPr>
              <a:t>Matteo Andreetto </a:t>
            </a:r>
            <a:endParaRPr lang="de-CH" sz="1200" b="1" dirty="0" smtClean="0">
              <a:solidFill>
                <a:prstClr val="black"/>
              </a:solidFill>
            </a:endParaRPr>
          </a:p>
          <a:p>
            <a:pPr eaLnBrk="0" hangingPunct="0">
              <a:spcBef>
                <a:spcPct val="0"/>
              </a:spcBef>
            </a:pPr>
            <a:r>
              <a:rPr lang="de-CH" sz="1200" dirty="0" smtClean="0">
                <a:solidFill>
                  <a:prstClr val="black"/>
                </a:solidFill>
                <a:ea typeface="ＭＳ Ｐゴシック" pitchFamily="34" charset="-128"/>
              </a:rPr>
              <a:t>Global Head </a:t>
            </a:r>
            <a:r>
              <a:rPr lang="de-CH" sz="1200" dirty="0" err="1" smtClean="0">
                <a:solidFill>
                  <a:prstClr val="black"/>
                </a:solidFill>
                <a:ea typeface="ＭＳ Ｐゴシック" pitchFamily="34" charset="-128"/>
              </a:rPr>
              <a:t>of</a:t>
            </a:r>
            <a:r>
              <a:rPr lang="de-CH" sz="1200" dirty="0" smtClean="0">
                <a:solidFill>
                  <a:prstClr val="black"/>
                </a:solidFill>
                <a:ea typeface="ＭＳ Ｐゴシック" pitchFamily="34" charset="-128"/>
              </a:rPr>
              <a:t> </a:t>
            </a:r>
            <a:r>
              <a:rPr lang="de-CH" sz="1200" dirty="0" err="1" smtClean="0">
                <a:solidFill>
                  <a:prstClr val="black"/>
                </a:solidFill>
                <a:ea typeface="ＭＳ Ｐゴシック" pitchFamily="34" charset="-128"/>
              </a:rPr>
              <a:t>Sales</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207 862 7676</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7843 065489 (mobile</a:t>
            </a:r>
            <a:r>
              <a:rPr lang="en-US" sz="1200" dirty="0" smtClean="0">
                <a:solidFill>
                  <a:srgbClr val="000000"/>
                </a:solidFill>
                <a:ea typeface="ＭＳ Ｐゴシック" pitchFamily="34" charset="-128"/>
              </a:rPr>
              <a:t>)</a:t>
            </a:r>
          </a:p>
          <a:p>
            <a:pPr eaLnBrk="0" hangingPunct="0">
              <a:spcBef>
                <a:spcPct val="0"/>
              </a:spcBef>
            </a:pPr>
            <a:r>
              <a:rPr lang="en-US" sz="1200" dirty="0">
                <a:solidFill>
                  <a:srgbClr val="000000"/>
                </a:solidFill>
                <a:ea typeface="ＭＳ Ｐゴシック" pitchFamily="34" charset="-128"/>
              </a:rPr>
              <a:t>m</a:t>
            </a:r>
            <a:r>
              <a:rPr lang="en-US" sz="1200" dirty="0" smtClean="0">
                <a:solidFill>
                  <a:srgbClr val="000000"/>
                </a:solidFill>
                <a:ea typeface="ＭＳ Ｐゴシック" pitchFamily="34" charset="-128"/>
              </a:rPr>
              <a:t>atteo.andreetto@stoxx.com</a:t>
            </a:r>
            <a:endParaRPr lang="en-US" sz="1200" dirty="0">
              <a:solidFill>
                <a:srgbClr val="000000"/>
              </a:solidFill>
              <a:ea typeface="ＭＳ Ｐゴシック" pitchFamily="34" charset="-128"/>
            </a:endParaRPr>
          </a:p>
        </p:txBody>
      </p:sp>
      <p:sp>
        <p:nvSpPr>
          <p:cNvPr id="564" name="Rectangle 569"/>
          <p:cNvSpPr>
            <a:spLocks noChangeArrowheads="1"/>
          </p:cNvSpPr>
          <p:nvPr/>
        </p:nvSpPr>
        <p:spPr bwMode="auto">
          <a:xfrm>
            <a:off x="3596680" y="3535223"/>
            <a:ext cx="2709593" cy="923330"/>
          </a:xfrm>
          <a:prstGeom prst="rect">
            <a:avLst/>
          </a:prstGeom>
          <a:noFill/>
          <a:ln w="9525" algn="ctr">
            <a:noFill/>
            <a:miter lim="800000"/>
            <a:headEnd/>
            <a:tailEnd/>
          </a:ln>
        </p:spPr>
        <p:txBody>
          <a:bodyPr wrap="square" lIns="324000" tIns="0" rIns="0" bIns="0" anchor="t" anchorCtr="0">
            <a:spAutoFit/>
          </a:bodyPr>
          <a:lstStyle/>
          <a:p>
            <a:pPr eaLnBrk="0" hangingPunct="0">
              <a:spcBef>
                <a:spcPct val="0"/>
              </a:spcBef>
            </a:pPr>
            <a:r>
              <a:rPr lang="en-US" sz="1200" b="1" dirty="0">
                <a:solidFill>
                  <a:prstClr val="black"/>
                </a:solidFill>
              </a:rPr>
              <a:t>Roberto </a:t>
            </a:r>
            <a:r>
              <a:rPr lang="en-US" sz="1200" b="1" dirty="0" smtClean="0">
                <a:solidFill>
                  <a:prstClr val="black"/>
                </a:solidFill>
              </a:rPr>
              <a:t>Lazzarotto</a:t>
            </a:r>
          </a:p>
          <a:p>
            <a:pPr eaLnBrk="0" hangingPunct="0">
              <a:spcBef>
                <a:spcPct val="0"/>
              </a:spcBef>
            </a:pPr>
            <a:r>
              <a:rPr lang="en-US" sz="1200" dirty="0" smtClean="0">
                <a:solidFill>
                  <a:srgbClr val="000000"/>
                </a:solidFill>
                <a:ea typeface="ＭＳ Ｐゴシック" pitchFamily="34" charset="-128"/>
              </a:rPr>
              <a:t>Head </a:t>
            </a:r>
            <a:r>
              <a:rPr lang="en-US" sz="1200" dirty="0">
                <a:solidFill>
                  <a:srgbClr val="000000"/>
                </a:solidFill>
                <a:ea typeface="ＭＳ Ｐゴシック" pitchFamily="34" charset="-128"/>
              </a:rPr>
              <a:t>of EMEA</a:t>
            </a:r>
          </a:p>
          <a:p>
            <a:pPr eaLnBrk="0" hangingPunct="0">
              <a:spcBef>
                <a:spcPct val="0"/>
              </a:spcBef>
            </a:pPr>
            <a:r>
              <a:rPr lang="en-US" sz="1200" dirty="0">
                <a:solidFill>
                  <a:srgbClr val="000000"/>
                </a:solidFill>
                <a:ea typeface="ＭＳ Ｐゴシック" pitchFamily="34" charset="-128"/>
              </a:rPr>
              <a:t>+41 58 399 4467</a:t>
            </a:r>
          </a:p>
          <a:p>
            <a:pPr eaLnBrk="0" hangingPunct="0">
              <a:spcBef>
                <a:spcPct val="0"/>
              </a:spcBef>
            </a:pPr>
            <a:r>
              <a:rPr lang="en-US" sz="1200" dirty="0">
                <a:solidFill>
                  <a:srgbClr val="000000"/>
                </a:solidFill>
                <a:ea typeface="ＭＳ Ｐゴシック" pitchFamily="34" charset="-128"/>
              </a:rPr>
              <a:t>+41 79 438 6061 (mobile)</a:t>
            </a:r>
          </a:p>
          <a:p>
            <a:pPr eaLnBrk="0" hangingPunct="0">
              <a:spcBef>
                <a:spcPct val="0"/>
              </a:spcBef>
            </a:pPr>
            <a:r>
              <a:rPr lang="en-US" sz="1200" dirty="0">
                <a:solidFill>
                  <a:prstClr val="black"/>
                </a:solidFill>
              </a:rPr>
              <a:t>r</a:t>
            </a:r>
            <a:r>
              <a:rPr lang="en-US" sz="1200" dirty="0" smtClean="0">
                <a:solidFill>
                  <a:prstClr val="black"/>
                </a:solidFill>
              </a:rPr>
              <a:t>oberto.lazzarotto</a:t>
            </a:r>
            <a:r>
              <a:rPr lang="en-US" sz="1200" dirty="0" smtClean="0">
                <a:solidFill>
                  <a:srgbClr val="000000"/>
                </a:solidFill>
                <a:ea typeface="ＭＳ Ｐゴシック" pitchFamily="34" charset="-128"/>
              </a:rPr>
              <a:t>@stoxx.com</a:t>
            </a:r>
            <a:endParaRPr lang="en-US" sz="1200" dirty="0">
              <a:solidFill>
                <a:srgbClr val="000000"/>
              </a:solidFill>
              <a:ea typeface="ＭＳ Ｐゴシック" pitchFamily="34" charset="-128"/>
            </a:endParaRPr>
          </a:p>
        </p:txBody>
      </p:sp>
    </p:spTree>
    <p:extLst>
      <p:ext uri="{BB962C8B-B14F-4D97-AF65-F5344CB8AC3E}">
        <p14:creationId xmlns:p14="http://schemas.microsoft.com/office/powerpoint/2010/main" val="16867858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heme/theme1.xml><?xml version="1.0" encoding="utf-8"?>
<a:theme xmlns:a="http://schemas.openxmlformats.org/drawingml/2006/main" name="STOXXEmbeddedTheme">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2.xml><?xml version="1.0" encoding="utf-8"?>
<a:theme xmlns:a="http://schemas.openxmlformats.org/drawingml/2006/main" name="Template STOXX Presentations 2.0.">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3.xml><?xml version="1.0" encoding="utf-8"?>
<a:theme xmlns:a="http://schemas.openxmlformats.org/drawingml/2006/main" name="STOXX_ESG_ProductSlides">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259107C9-37E6-43D9-A1F9-8EDA752E7AC4}"/>
</file>

<file path=customXml/itemProps2.xml><?xml version="1.0" encoding="utf-8"?>
<ds:datastoreItem xmlns:ds="http://schemas.openxmlformats.org/officeDocument/2006/customXml" ds:itemID="{176CD4BE-1A58-4F73-9282-82F1A3BB6FCF}"/>
</file>

<file path=customXml/itemProps3.xml><?xml version="1.0" encoding="utf-8"?>
<ds:datastoreItem xmlns:ds="http://schemas.openxmlformats.org/officeDocument/2006/customXml" ds:itemID="{01D6F024-392D-433C-AD8F-32A56F637A9E}"/>
</file>

<file path=docProps/app.xml><?xml version="1.0" encoding="utf-8"?>
<Properties xmlns="http://schemas.openxmlformats.org/officeDocument/2006/extended-properties" xmlns:vt="http://schemas.openxmlformats.org/officeDocument/2006/docPropsVTypes">
  <Template>STOXXPresentations2.0</Template>
  <TotalTime>0</TotalTime>
  <Words>1341</Words>
  <Application>Microsoft Office PowerPoint</Application>
  <PresentationFormat>A4 Paper (210x297 mm)</PresentationFormat>
  <Paragraphs>223</Paragraphs>
  <Slides>11</Slides>
  <Notes>5</Notes>
  <HiddenSlides>0</HiddenSlides>
  <MMClips>0</MMClips>
  <ScaleCrop>false</ScaleCrop>
  <HeadingPairs>
    <vt:vector size="4" baseType="variant">
      <vt:variant>
        <vt:lpstr>Theme</vt:lpstr>
      </vt:variant>
      <vt:variant>
        <vt:i4>3</vt:i4>
      </vt:variant>
      <vt:variant>
        <vt:lpstr>Slide Titles</vt:lpstr>
      </vt:variant>
      <vt:variant>
        <vt:i4>11</vt:i4>
      </vt:variant>
    </vt:vector>
  </HeadingPairs>
  <TitlesOfParts>
    <vt:vector size="14" baseType="lpstr">
      <vt:lpstr>STOXXEmbeddedTheme</vt:lpstr>
      <vt:lpstr>Template STOXX Presentations 2.0.</vt:lpstr>
      <vt:lpstr>STOXX_ESG_ProductSlides</vt:lpstr>
      <vt:lpstr>EURO STOXX® SELECT DIVIDEND 30 INDEX </vt:lpstr>
      <vt:lpstr>Agenda</vt:lpstr>
      <vt:lpstr>Investment case</vt:lpstr>
      <vt:lpstr>Methodology</vt:lpstr>
      <vt:lpstr>Risk and return overview</vt:lpstr>
      <vt:lpstr>Index fundamental characteristics and key figures</vt:lpstr>
      <vt:lpstr>Supersector and country allocation</vt:lpstr>
      <vt:lpstr>Top 10 components by weight</vt:lpstr>
      <vt:lpstr>STOXX sales contacts</vt:lpstr>
      <vt:lpstr>References</vt:lpstr>
      <vt:lpstr>Disclaimer</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XXX INDEX (ALL CAPS)</dc:title>
  <dc:creator>Granell, Antonio</dc:creator>
  <cp:lastModifiedBy>Granell, Antonio</cp:lastModifiedBy>
  <cp:revision>246</cp:revision>
  <dcterms:created xsi:type="dcterms:W3CDTF">2014-05-26T13:36:56Z</dcterms:created>
  <dcterms:modified xsi:type="dcterms:W3CDTF">2015-11-16T18:19: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